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4"/>
  </p:sldMasterIdLst>
  <p:notesMasterIdLst>
    <p:notesMasterId r:id="rId19"/>
  </p:notesMasterIdLst>
  <p:handoutMasterIdLst>
    <p:handoutMasterId r:id="rId20"/>
  </p:handoutMasterIdLst>
  <p:sldIdLst>
    <p:sldId id="256" r:id="rId5"/>
    <p:sldId id="277" r:id="rId6"/>
    <p:sldId id="258" r:id="rId7"/>
    <p:sldId id="280" r:id="rId8"/>
    <p:sldId id="272" r:id="rId9"/>
    <p:sldId id="308" r:id="rId10"/>
    <p:sldId id="309" r:id="rId11"/>
    <p:sldId id="310" r:id="rId12"/>
    <p:sldId id="307" r:id="rId13"/>
    <p:sldId id="311" r:id="rId14"/>
    <p:sldId id="312" r:id="rId15"/>
    <p:sldId id="314" r:id="rId16"/>
    <p:sldId id="313" r:id="rId17"/>
    <p:sldId id="261" r:id="rId18"/>
  </p:sldIdLst>
  <p:sldSz cx="12192000" cy="6858000"/>
  <p:notesSz cx="6858000" cy="9144000"/>
  <p:custDataLst>
    <p:tags r:id="rId2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82C4"/>
    <a:srgbClr val="A20000"/>
    <a:srgbClr val="A40000"/>
    <a:srgbClr val="9E0000"/>
    <a:srgbClr val="C7450B"/>
    <a:srgbClr val="E24E0C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0FF10A4-C027-431C-8B0E-7F31478AA975}" v="552" dt="2022-11-25T11:28:13.08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06" autoAdjust="0"/>
    <p:restoredTop sz="96182" autoAdjust="0"/>
  </p:normalViewPr>
  <p:slideViewPr>
    <p:cSldViewPr snapToGrid="0">
      <p:cViewPr>
        <p:scale>
          <a:sx n="90" d="100"/>
          <a:sy n="90" d="100"/>
        </p:scale>
        <p:origin x="132" y="-1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4/1/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566292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4/1/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315465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形 5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1041399" y="5633743"/>
            <a:ext cx="7175501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3F82C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1041399" y="3086100"/>
            <a:ext cx="7175501" cy="223778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rgbClr val="3F82C4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331199" y="3086100"/>
            <a:ext cx="2565401" cy="24536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331199" y="3382371"/>
            <a:ext cx="2565401" cy="24536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1041399" y="5511167"/>
            <a:ext cx="7175501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2352098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2353214" y="3733086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图形 3"/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69" r="65582"/>
          <a:stretch>
            <a:fillRect/>
          </a:stretch>
        </p:blipFill>
        <p:spPr>
          <a:xfrm flipH="1" flipV="1">
            <a:off x="8013701" y="0"/>
            <a:ext cx="4178299" cy="6858000"/>
          </a:xfrm>
          <a:prstGeom prst="rect">
            <a:avLst/>
          </a:prstGeom>
        </p:spPr>
      </p:pic>
      <p:cxnSp>
        <p:nvCxnSpPr>
          <p:cNvPr id="5" name="直接连接符 4"/>
          <p:cNvCxnSpPr/>
          <p:nvPr userDrawn="1"/>
        </p:nvCxnSpPr>
        <p:spPr>
          <a:xfrm>
            <a:off x="2352098" y="3590746"/>
            <a:ext cx="7175501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4/1/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形 4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1346202" y="3001963"/>
            <a:ext cx="64261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346202" y="5308199"/>
            <a:ext cx="64261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1346204" y="5011928"/>
            <a:ext cx="64261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1346202" y="4850767"/>
            <a:ext cx="6426198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4/1/2</a:t>
            </a:fld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OfficePLUS</a:t>
            </a:r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3" name="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2723242" y="5525955"/>
            <a:ext cx="2708730" cy="701731"/>
          </a:xfr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zh-CN" altLang="en-US" sz="4400" b="0" dirty="0">
                <a:solidFill>
                  <a:srgbClr val="3F82C4"/>
                </a:solidFill>
                <a:latin typeface="+mn-lt"/>
                <a:ea typeface="+mn-ea"/>
                <a:cs typeface="+mn-ea"/>
                <a:sym typeface="+mn-lt"/>
              </a:rPr>
              <a:t>人机对弈</a:t>
            </a:r>
            <a:endParaRPr lang="zh-CN" altLang="en-US" sz="4400" b="0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7995090C-0C68-FA80-3821-B6F773FBFF1E}"/>
              </a:ext>
            </a:extLst>
          </p:cNvPr>
          <p:cNvSpPr txBox="1"/>
          <p:nvPr/>
        </p:nvSpPr>
        <p:spPr>
          <a:xfrm>
            <a:off x="2168031" y="2036601"/>
            <a:ext cx="1692771" cy="3728357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0" b="0" i="0" u="none" strike="noStrike" kern="1200" cap="none" spc="0" normalizeH="0" baseline="0" noProof="0" dirty="0">
                <a:ln>
                  <a:noFill/>
                </a:ln>
                <a:solidFill>
                  <a:srgbClr val="3F82C4"/>
                </a:solidFill>
                <a:effectLst/>
                <a:uLnTx/>
                <a:uFillTx/>
                <a:latin typeface="Arial"/>
                <a:ea typeface="微软雅黑"/>
                <a:cs typeface="+mn-ea"/>
                <a:sym typeface="+mn-lt"/>
              </a:rPr>
              <a:t>五子棋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  <a:p>
            <a:endParaRPr lang="zh-CN" altLang="en-US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427127" y="474083"/>
            <a:ext cx="5419185" cy="424732"/>
          </a:xfrm>
        </p:spPr>
        <p:txBody>
          <a:bodyPr>
            <a:spAutoFit/>
          </a:bodyPr>
          <a:lstStyle/>
          <a:p>
            <a:r>
              <a:rPr lang="en-US" altLang="zh-CN" b="0" dirty="0">
                <a:solidFill>
                  <a:srgbClr val="3F82C4"/>
                </a:solidFill>
                <a:latin typeface="+mj-ea"/>
                <a:cs typeface="+mn-ea"/>
                <a:sym typeface="+mn-lt"/>
              </a:rPr>
              <a:t>3.1</a:t>
            </a:r>
            <a:r>
              <a:rPr lang="zh-CN" altLang="en-US" b="0" dirty="0">
                <a:solidFill>
                  <a:srgbClr val="3F82C4"/>
                </a:solidFill>
                <a:latin typeface="+mj-ea"/>
                <a:cs typeface="+mn-ea"/>
                <a:sym typeface="+mn-lt"/>
              </a:rPr>
              <a:t>估值函数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10708" y="970076"/>
            <a:ext cx="5964520" cy="4097275"/>
          </a:xfrm>
        </p:spPr>
        <p:txBody>
          <a:bodyPr wrap="square">
            <a:spAutoFit/>
          </a:bodyPr>
          <a:lstStyle/>
          <a:p>
            <a:r>
              <a:rPr lang="zh-CN" altLang="en-US" sz="1600" dirty="0">
                <a:solidFill>
                  <a:srgbClr val="002060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创立一个二维数组</a:t>
            </a:r>
            <a:r>
              <a:rPr lang="en-US" altLang="zh-CN" sz="1600" dirty="0">
                <a:solidFill>
                  <a:srgbClr val="002060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score</a:t>
            </a:r>
            <a:r>
              <a:rPr lang="zh-CN" altLang="en-US" sz="1600" dirty="0">
                <a:solidFill>
                  <a:srgbClr val="002060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（</a:t>
            </a:r>
            <a:r>
              <a:rPr lang="en-US" altLang="zh-CN" sz="1600" dirty="0">
                <a:solidFill>
                  <a:srgbClr val="002060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16</a:t>
            </a:r>
            <a:r>
              <a:rPr lang="zh-CN" altLang="en-US" sz="1600" dirty="0">
                <a:solidFill>
                  <a:srgbClr val="002060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行</a:t>
            </a:r>
            <a:r>
              <a:rPr lang="en-US" altLang="zh-CN" sz="1600" dirty="0">
                <a:solidFill>
                  <a:srgbClr val="002060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16</a:t>
            </a:r>
            <a:r>
              <a:rPr lang="zh-CN" altLang="en-US" sz="1600" dirty="0">
                <a:solidFill>
                  <a:srgbClr val="002060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列，目的是与之前的落子</a:t>
            </a:r>
            <a:r>
              <a:rPr lang="en-US" altLang="zh-CN" sz="1600" dirty="0">
                <a:solidFill>
                  <a:srgbClr val="002060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map</a:t>
            </a:r>
            <a:r>
              <a:rPr lang="zh-CN" altLang="en-US" sz="1600" dirty="0">
                <a:solidFill>
                  <a:srgbClr val="002060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能够一一对应，只使用</a:t>
            </a:r>
            <a:r>
              <a:rPr lang="en-US" altLang="zh-CN" sz="1600" dirty="0">
                <a:solidFill>
                  <a:srgbClr val="002060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1-15</a:t>
            </a:r>
            <a:r>
              <a:rPr lang="zh-CN" altLang="en-US" sz="1600" dirty="0">
                <a:solidFill>
                  <a:srgbClr val="002060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这</a:t>
            </a:r>
            <a:r>
              <a:rPr lang="en-US" altLang="zh-CN" sz="1600" dirty="0">
                <a:solidFill>
                  <a:srgbClr val="002060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15</a:t>
            </a:r>
            <a:r>
              <a:rPr lang="zh-CN" altLang="en-US" sz="1600" dirty="0">
                <a:solidFill>
                  <a:srgbClr val="002060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个数字，便于直观分析理解），此数组用于存放未落子处（即空位置）的优劣情况，在某一个方向上两头查找，直到遇到空位或异色棋子才停止，记录在此期间己方棋子的个数和两边敌方棋子的个数，代码举例如图</a:t>
            </a:r>
            <a:r>
              <a:rPr lang="en-US" altLang="zh-CN" sz="1600" dirty="0">
                <a:solidFill>
                  <a:srgbClr val="002060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1-1</a:t>
            </a:r>
            <a:r>
              <a:rPr lang="zh-CN" altLang="en-US" sz="1600" dirty="0">
                <a:solidFill>
                  <a:srgbClr val="002060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即为对某一方向上，一头的查找。</a:t>
            </a:r>
          </a:p>
          <a:p>
            <a:r>
              <a:rPr lang="zh-CN" altLang="en-US" sz="1600" dirty="0">
                <a:solidFill>
                  <a:srgbClr val="002060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经过两头查找之后，按照分数表给出这一方向上该点的分数值，遍历四个方向，将该点四个方向上的分数累加，得到该点的最终分数并存入</a:t>
            </a:r>
            <a:r>
              <a:rPr lang="en-US" altLang="zh-CN" sz="1600" dirty="0">
                <a:solidFill>
                  <a:srgbClr val="002060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score</a:t>
            </a:r>
            <a:r>
              <a:rPr lang="zh-CN" altLang="en-US" sz="1600" dirty="0">
                <a:solidFill>
                  <a:srgbClr val="002060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数组的相应位置。需要注意的是，估值时既对白子（电脑）分析，也对黑子（玩家）分析，以完成较为合理的给分。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717B8F6E-9ED1-5106-C743-349CC3A9067B}"/>
              </a:ext>
            </a:extLst>
          </p:cNvPr>
          <p:cNvSpPr txBox="1"/>
          <p:nvPr/>
        </p:nvSpPr>
        <p:spPr>
          <a:xfrm>
            <a:off x="6696343" y="5067351"/>
            <a:ext cx="27166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图</a:t>
            </a:r>
            <a:r>
              <a:rPr lang="en-US" altLang="zh-CN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2-1 </a:t>
            </a:r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计算分数（部分）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8D7AA312-6BF0-9DA6-893D-E82FBC4DE0ED}"/>
              </a:ext>
            </a:extLst>
          </p:cNvPr>
          <p:cNvSpPr txBox="1"/>
          <p:nvPr/>
        </p:nvSpPr>
        <p:spPr>
          <a:xfrm>
            <a:off x="10088130" y="5067351"/>
            <a:ext cx="16727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图</a:t>
            </a:r>
            <a:r>
              <a:rPr lang="en-US" altLang="zh-CN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2-2 </a:t>
            </a:r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计算分数</a:t>
            </a:r>
            <a:endParaRPr lang="en-US" altLang="zh-CN" sz="1600" dirty="0">
              <a:solidFill>
                <a:srgbClr val="3F82C4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algn="ctr"/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（部分）</a:t>
            </a:r>
            <a:r>
              <a:rPr lang="en-US" altLang="zh-CN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 </a:t>
            </a:r>
            <a:endParaRPr lang="zh-CN" altLang="en-US" sz="1600" dirty="0">
              <a:solidFill>
                <a:srgbClr val="3F82C4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14A5B976-BEE9-CE33-DF80-F24835E1ABFA}"/>
              </a:ext>
            </a:extLst>
          </p:cNvPr>
          <p:cNvSpPr txBox="1"/>
          <p:nvPr/>
        </p:nvSpPr>
        <p:spPr>
          <a:xfrm>
            <a:off x="7155712" y="474083"/>
            <a:ext cx="27166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3F82C4"/>
                </a:solidFill>
              </a:rPr>
              <a:t>部分代码展示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055C4823-CEBB-CA02-3FC9-7DE048E89D0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5285" y="843415"/>
            <a:ext cx="2518019" cy="4097275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52862744-7F65-BD09-3D53-A2A4B9E796F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1430" y="831911"/>
            <a:ext cx="2292194" cy="4164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9761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  <p:bldP spid="11" grpId="0"/>
      <p:bldP spid="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606605" y="986025"/>
            <a:ext cx="5335604" cy="1118255"/>
          </a:xfrm>
        </p:spPr>
        <p:txBody>
          <a:bodyPr wrap="square">
            <a:spAutoFit/>
          </a:bodyPr>
          <a:lstStyle/>
          <a:p>
            <a:pPr lvl="0" algn="just">
              <a:lnSpc>
                <a:spcPts val="2000"/>
              </a:lnSpc>
            </a:pPr>
            <a:r>
              <a:rPr lang="zh-CN" altLang="en-US" sz="1800" kern="100" dirty="0">
                <a:latin typeface="楷体" panose="02010609060101010101" pitchFamily="49" charset="-122"/>
                <a:ea typeface="楷体" panose="02010609060101010101" pitchFamily="49" charset="-122"/>
              </a:rPr>
              <a:t>按照不同情况给给各种棋型进行打分，需要注意的是，由于规定了黑子先手，所以对黑子打分与对白子打分略有不同（如图</a:t>
            </a:r>
            <a:r>
              <a:rPr lang="en-US" altLang="zh-CN" sz="1800" kern="100" dirty="0">
                <a:latin typeface="楷体" panose="02010609060101010101" pitchFamily="49" charset="-122"/>
                <a:ea typeface="楷体" panose="02010609060101010101" pitchFamily="49" charset="-122"/>
              </a:rPr>
              <a:t>2-3</a:t>
            </a:r>
            <a:r>
              <a:rPr lang="zh-CN" altLang="en-US" sz="1800" kern="100" dirty="0">
                <a:latin typeface="楷体" panose="02010609060101010101" pitchFamily="49" charset="-122"/>
                <a:ea typeface="楷体" panose="02010609060101010101" pitchFamily="49" charset="-122"/>
              </a:rPr>
              <a:t>、</a:t>
            </a:r>
            <a:r>
              <a:rPr lang="en-US" altLang="zh-CN" sz="1800" kern="100" dirty="0">
                <a:latin typeface="楷体" panose="02010609060101010101" pitchFamily="49" charset="-122"/>
                <a:ea typeface="楷体" panose="02010609060101010101" pitchFamily="49" charset="-122"/>
              </a:rPr>
              <a:t>2-4</a:t>
            </a:r>
            <a:r>
              <a:rPr lang="zh-CN" altLang="en-US" sz="1800" kern="100" dirty="0">
                <a:latin typeface="楷体" panose="02010609060101010101" pitchFamily="49" charset="-122"/>
                <a:ea typeface="楷体" panose="02010609060101010101" pitchFamily="49" charset="-122"/>
              </a:rPr>
              <a:t>），经过思考和测试，目前的评分表已经较为合理。</a:t>
            </a:r>
            <a:endParaRPr lang="zh-CN" altLang="en-US" sz="1800" kern="100" dirty="0">
              <a:effectLst/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717B8F6E-9ED1-5106-C743-349CC3A9067B}"/>
              </a:ext>
            </a:extLst>
          </p:cNvPr>
          <p:cNvSpPr txBox="1"/>
          <p:nvPr/>
        </p:nvSpPr>
        <p:spPr>
          <a:xfrm>
            <a:off x="8460617" y="3499241"/>
            <a:ext cx="19691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图</a:t>
            </a:r>
            <a:r>
              <a:rPr lang="en-US" altLang="zh-CN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2-4 </a:t>
            </a:r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黑子（玩家）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8D7AA312-6BF0-9DA6-893D-E82FBC4DE0ED}"/>
              </a:ext>
            </a:extLst>
          </p:cNvPr>
          <p:cNvSpPr txBox="1"/>
          <p:nvPr/>
        </p:nvSpPr>
        <p:spPr>
          <a:xfrm>
            <a:off x="6096000" y="3499241"/>
            <a:ext cx="20324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图</a:t>
            </a:r>
            <a:r>
              <a:rPr lang="en-US" altLang="zh-CN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2-3 </a:t>
            </a:r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白子（电脑）</a:t>
            </a:r>
            <a:r>
              <a:rPr lang="en-US" altLang="zh-CN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 </a:t>
            </a:r>
            <a:endParaRPr lang="zh-CN" altLang="en-US" sz="1600" dirty="0">
              <a:solidFill>
                <a:srgbClr val="3F82C4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2" name="标题 4">
            <a:extLst>
              <a:ext uri="{FF2B5EF4-FFF2-40B4-BE49-F238E27FC236}">
                <a16:creationId xmlns:a16="http://schemas.microsoft.com/office/drawing/2014/main" id="{E97422F9-6CE3-6682-FC18-43424C17AB0A}"/>
              </a:ext>
            </a:extLst>
          </p:cNvPr>
          <p:cNvSpPr txBox="1">
            <a:spLocks/>
          </p:cNvSpPr>
          <p:nvPr/>
        </p:nvSpPr>
        <p:spPr>
          <a:xfrm>
            <a:off x="427127" y="474083"/>
            <a:ext cx="5419185" cy="424732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b="0" dirty="0">
                <a:solidFill>
                  <a:srgbClr val="3F82C4"/>
                </a:solidFill>
                <a:latin typeface="+mj-ea"/>
                <a:cs typeface="+mn-ea"/>
                <a:sym typeface="+mn-lt"/>
              </a:rPr>
              <a:t>3.2</a:t>
            </a:r>
            <a:r>
              <a:rPr lang="zh-CN" altLang="en-US" b="0" dirty="0">
                <a:solidFill>
                  <a:srgbClr val="3F82C4"/>
                </a:solidFill>
                <a:latin typeface="+mj-ea"/>
                <a:cs typeface="+mn-ea"/>
                <a:sym typeface="+mn-lt"/>
              </a:rPr>
              <a:t>评分表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216FEDB8-16C3-6ED7-AB0F-438D9902E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6287" y="474083"/>
            <a:ext cx="2032415" cy="3006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95261C49-015B-075F-5D28-3057647716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8836" y="474083"/>
            <a:ext cx="2012755" cy="3025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标题 4">
            <a:extLst>
              <a:ext uri="{FF2B5EF4-FFF2-40B4-BE49-F238E27FC236}">
                <a16:creationId xmlns:a16="http://schemas.microsoft.com/office/drawing/2014/main" id="{58B91A0F-214C-5761-FD9F-62385C22FA2D}"/>
              </a:ext>
            </a:extLst>
          </p:cNvPr>
          <p:cNvSpPr txBox="1">
            <a:spLocks/>
          </p:cNvSpPr>
          <p:nvPr/>
        </p:nvSpPr>
        <p:spPr>
          <a:xfrm>
            <a:off x="388141" y="2285567"/>
            <a:ext cx="5419185" cy="424732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b="0" dirty="0">
                <a:solidFill>
                  <a:srgbClr val="3F82C4"/>
                </a:solidFill>
                <a:latin typeface="+mj-ea"/>
                <a:cs typeface="+mn-ea"/>
                <a:sym typeface="+mn-lt"/>
              </a:rPr>
              <a:t>3.3</a:t>
            </a:r>
            <a:r>
              <a:rPr lang="zh-CN" altLang="en-US" b="0" dirty="0">
                <a:solidFill>
                  <a:srgbClr val="3F82C4"/>
                </a:solidFill>
                <a:latin typeface="+mj-ea"/>
                <a:cs typeface="+mn-ea"/>
                <a:sym typeface="+mn-lt"/>
              </a:rPr>
              <a:t>选取最大</a:t>
            </a: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1D677FC5-22AD-734F-DCDD-21730639983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05" y="4490339"/>
            <a:ext cx="3881372" cy="2100011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777F496E-B80F-AF97-39CC-3302D484CBEB}"/>
              </a:ext>
            </a:extLst>
          </p:cNvPr>
          <p:cNvSpPr txBox="1"/>
          <p:nvPr/>
        </p:nvSpPr>
        <p:spPr>
          <a:xfrm>
            <a:off x="4421549" y="5371067"/>
            <a:ext cx="17293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图</a:t>
            </a:r>
            <a:r>
              <a:rPr lang="en-US" altLang="zh-CN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2-5 </a:t>
            </a:r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记录分数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0841AA74-1D52-0BF4-FFA3-870B69D875C5}"/>
              </a:ext>
            </a:extLst>
          </p:cNvPr>
          <p:cNvSpPr txBox="1"/>
          <p:nvPr/>
        </p:nvSpPr>
        <p:spPr>
          <a:xfrm>
            <a:off x="606605" y="2861655"/>
            <a:ext cx="353532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记录每个点的分数，随后选取最大分数的点位，将其对应的</a:t>
            </a:r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</a:rPr>
              <a:t>map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元素更新为</a:t>
            </a:r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</a:rPr>
              <a:t>-1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，若出现有分数相同的情形，则按照之前提及的进行随机选取，如图</a:t>
            </a:r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</a:rPr>
              <a:t>2-5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、</a:t>
            </a:r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</a:rPr>
              <a:t>2-6</a:t>
            </a:r>
            <a:endParaRPr lang="zh-CN" altLang="en-US" dirty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D73295BC-11CB-46B0-17DF-3E2C7463ABE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000" y="3856423"/>
            <a:ext cx="2420338" cy="2844662"/>
          </a:xfrm>
          <a:prstGeom prst="rect">
            <a:avLst/>
          </a:prstGeom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1D461E88-44A1-FD3F-B037-71247E9C6796}"/>
              </a:ext>
            </a:extLst>
          </p:cNvPr>
          <p:cNvSpPr txBox="1"/>
          <p:nvPr/>
        </p:nvSpPr>
        <p:spPr>
          <a:xfrm>
            <a:off x="8393338" y="4631379"/>
            <a:ext cx="17293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图</a:t>
            </a:r>
            <a:r>
              <a:rPr lang="en-US" altLang="zh-CN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2-6 </a:t>
            </a:r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更新棋盘</a:t>
            </a:r>
          </a:p>
        </p:txBody>
      </p:sp>
    </p:spTree>
    <p:extLst>
      <p:ext uri="{BB962C8B-B14F-4D97-AF65-F5344CB8AC3E}">
        <p14:creationId xmlns:p14="http://schemas.microsoft.com/office/powerpoint/2010/main" val="38105965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0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0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  <p:bldP spid="8" grpId="0"/>
      <p:bldP spid="9" grpId="0"/>
      <p:bldP spid="13" grpId="0"/>
      <p:bldP spid="1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1954494" y="789854"/>
            <a:ext cx="2994963" cy="424732"/>
          </a:xfr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3F82C4"/>
                </a:solidFill>
                <a:latin typeface="+mn-lt"/>
                <a:ea typeface="+mn-ea"/>
                <a:cs typeface="+mn-ea"/>
                <a:sym typeface="+mn-lt"/>
              </a:rPr>
              <a:t>实验数据及结果分析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718817" y="32467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04</a:t>
            </a:r>
            <a:endParaRPr 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B0291F0-AE0A-FD47-D092-48A1A37C5D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996" y="1420505"/>
            <a:ext cx="5179954" cy="1669098"/>
          </a:xfrm>
        </p:spPr>
        <p:txBody>
          <a:bodyPr>
            <a:normAutofit fontScale="47500" lnSpcReduction="20000"/>
          </a:bodyPr>
          <a:lstStyle/>
          <a:p>
            <a:r>
              <a:rPr lang="zh-CN" altLang="en-US" sz="38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经过多次对局，基本确定没有重大问题（图</a:t>
            </a:r>
            <a:r>
              <a:rPr lang="en-US" altLang="zh-CN" sz="38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3-1</a:t>
            </a:r>
            <a:r>
              <a:rPr lang="zh-CN" altLang="en-US" sz="38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给出运行过程的例子）。但仍有些许问题，估值函数还是不够完美，如忽略了跳</a:t>
            </a:r>
            <a:r>
              <a:rPr lang="en-US" altLang="zh-CN" sz="38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3</a:t>
            </a:r>
            <a:r>
              <a:rPr lang="zh-CN" altLang="en-US" sz="38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、跳</a:t>
            </a:r>
            <a:r>
              <a:rPr lang="en-US" altLang="zh-CN" sz="38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4</a:t>
            </a:r>
            <a:r>
              <a:rPr lang="zh-CN" altLang="en-US" sz="38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等情况（如图</a:t>
            </a:r>
            <a:r>
              <a:rPr lang="en-US" altLang="zh-CN" sz="38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3-2</a:t>
            </a:r>
            <a:r>
              <a:rPr lang="zh-CN" altLang="en-US" sz="38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，电脑并不主动拦截的类似情况）</a:t>
            </a:r>
          </a:p>
          <a:p>
            <a:endParaRPr lang="zh-CN" altLang="en-US" dirty="0"/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ACC37F7B-9071-6DD5-383A-2E642B3BB6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1592" y="246455"/>
            <a:ext cx="2785139" cy="2693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00CE025E-5EF4-2ABD-859A-83249379E998}"/>
              </a:ext>
            </a:extLst>
          </p:cNvPr>
          <p:cNvSpPr txBox="1"/>
          <p:nvPr/>
        </p:nvSpPr>
        <p:spPr>
          <a:xfrm>
            <a:off x="6408368" y="2939902"/>
            <a:ext cx="17915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图</a:t>
            </a:r>
            <a:r>
              <a:rPr lang="en-US" altLang="zh-CN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3-1 </a:t>
            </a:r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运行过程</a:t>
            </a:r>
          </a:p>
        </p:txBody>
      </p:sp>
      <p:pic>
        <p:nvPicPr>
          <p:cNvPr id="5124" name="Picture 4">
            <a:extLst>
              <a:ext uri="{FF2B5EF4-FFF2-40B4-BE49-F238E27FC236}">
                <a16:creationId xmlns:a16="http://schemas.microsoft.com/office/drawing/2014/main" id="{F41A0012-9CAE-1F6F-26F0-4B641D2257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5444" y="246455"/>
            <a:ext cx="2715561" cy="2715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170327D2-C55E-758B-2F63-10D42CB0F435}"/>
              </a:ext>
            </a:extLst>
          </p:cNvPr>
          <p:cNvSpPr txBox="1"/>
          <p:nvPr/>
        </p:nvSpPr>
        <p:spPr>
          <a:xfrm>
            <a:off x="9495354" y="3089602"/>
            <a:ext cx="17915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图</a:t>
            </a:r>
            <a:r>
              <a:rPr lang="en-US" altLang="zh-CN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3-2 </a:t>
            </a:r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不堵跳四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F2B6E994-1996-E49C-196E-EFB0A841F1EE}"/>
              </a:ext>
            </a:extLst>
          </p:cNvPr>
          <p:cNvSpPr txBox="1"/>
          <p:nvPr/>
        </p:nvSpPr>
        <p:spPr>
          <a:xfrm>
            <a:off x="550996" y="3354571"/>
            <a:ext cx="517995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经过测试发现对于水平较差的玩家，若玩家不加注意，则很容易被电脑下赢，若玩家全神贯注，则基本平局；对于水平较好的玩家，该程序就显得像是被大人玩弄于股掌之间的小孩子一样，证明程序还有较大的提升空间。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803809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5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/>
      <p:bldP spid="8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718817" y="1501704"/>
            <a:ext cx="5335604" cy="1631216"/>
          </a:xfrm>
        </p:spPr>
        <p:txBody>
          <a:bodyPr wrap="square">
            <a:spAutoFit/>
          </a:bodyPr>
          <a:lstStyle/>
          <a:p>
            <a:pPr lvl="0" algn="just">
              <a:lnSpc>
                <a:spcPts val="2000"/>
              </a:lnSpc>
            </a:pPr>
            <a:r>
              <a:rPr lang="zh-CN" altLang="en-US" sz="1800" kern="100" dirty="0">
                <a:latin typeface="楷体" panose="02010609060101010101" pitchFamily="49" charset="-122"/>
                <a:ea typeface="楷体" panose="02010609060101010101" pitchFamily="49" charset="-122"/>
              </a:rPr>
              <a:t>在这次实验之中，我完成了五子棋人机对弈的基本功能需求，还按照自己的想法添加了一些别的功能，如悔棋、上一步标记、同分随机落子等，但是程序在五子棋的下棋棋力方面仍有不足，下棋的水平还有提升空间，可以添加</a:t>
            </a:r>
            <a:r>
              <a:rPr lang="en-US" altLang="zh-CN" sz="1800" kern="100" dirty="0">
                <a:latin typeface="楷体" panose="02010609060101010101" pitchFamily="49" charset="-122"/>
                <a:ea typeface="楷体" panose="02010609060101010101" pitchFamily="49" charset="-122"/>
              </a:rPr>
              <a:t>alpha-beta</a:t>
            </a:r>
            <a:r>
              <a:rPr lang="zh-CN" altLang="en-US" sz="1800" kern="100" dirty="0">
                <a:latin typeface="楷体" panose="02010609060101010101" pitchFamily="49" charset="-122"/>
                <a:ea typeface="楷体" panose="02010609060101010101" pitchFamily="49" charset="-122"/>
              </a:rPr>
              <a:t>剪枝（极大极小值搜索）功能，从而极大提高电脑的棋艺。</a:t>
            </a:r>
            <a:endParaRPr lang="zh-CN" altLang="en-US" sz="1800" kern="100" dirty="0">
              <a:effectLst/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5761EA3-B239-C834-C03E-F5889F88422B}"/>
              </a:ext>
            </a:extLst>
          </p:cNvPr>
          <p:cNvSpPr txBox="1"/>
          <p:nvPr/>
        </p:nvSpPr>
        <p:spPr>
          <a:xfrm>
            <a:off x="718817" y="32467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05</a:t>
            </a:r>
            <a:endParaRPr 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4" name="标题 4">
            <a:extLst>
              <a:ext uri="{FF2B5EF4-FFF2-40B4-BE49-F238E27FC236}">
                <a16:creationId xmlns:a16="http://schemas.microsoft.com/office/drawing/2014/main" id="{B6D1D673-2F24-975F-3702-213978236B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4494" y="789854"/>
            <a:ext cx="2994963" cy="424732"/>
          </a:xfr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3F82C4"/>
                </a:solidFill>
                <a:latin typeface="+mn-lt"/>
                <a:ea typeface="+mn-ea"/>
                <a:cs typeface="+mn-ea"/>
                <a:sym typeface="+mn-lt"/>
              </a:rPr>
              <a:t>总结与心得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0B35851-57A6-B9A3-B215-D703EA879C1D}"/>
              </a:ext>
            </a:extLst>
          </p:cNvPr>
          <p:cNvSpPr txBox="1"/>
          <p:nvPr/>
        </p:nvSpPr>
        <p:spPr>
          <a:xfrm>
            <a:off x="718817" y="3164681"/>
            <a:ext cx="5433237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经过本次实验，我充分认识、理解并使用了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楷体" panose="02010609060101010101" pitchFamily="49" charset="-122"/>
              </a:rPr>
              <a:t>C</a:t>
            </a:r>
            <a:r>
              <a:rPr lang="zh-CN" altLang="en-US" sz="18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语言的许多内容，如指针、数组、结构体、循环语句、分支语句、建立函数达到功能分区等各种实用又有趣的知识，非常感谢这学期老师的课程课程和一些小作业，让我从原来的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楷体" panose="02010609060101010101" pitchFamily="49" charset="-122"/>
              </a:rPr>
              <a:t>C</a:t>
            </a:r>
            <a:r>
              <a:rPr lang="zh-CN" altLang="en-US" sz="18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语言零基础，到了现在基本能够算是小小入门，收获很大、快乐很多，当然，也有许多遗憾，比如估值函数还能再优化，再比如还可以添加极大极小值搜索（尝试过，但是结果是，要不就在递归的时候出现问题导致不能运行，要么就是棋艺没增长，反而降低了），这也是我打算在寒假期间继续学习和探索的，希望在寒假的时候，我的五子棋能够出现特别强大的第二代。</a:t>
            </a:r>
            <a:endParaRPr lang="zh-CN" altLang="en-US" sz="1800" kern="100" dirty="0">
              <a:effectLst/>
              <a:latin typeface="Times New Roman" panose="02020603050405020304" pitchFamily="18" charset="0"/>
              <a:ea typeface="楷体" panose="02010609060101010101" pitchFamily="49" charset="-122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958298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  <p:bldP spid="5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3" name="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1346202" y="4087941"/>
            <a:ext cx="6426198" cy="535531"/>
          </a:xfrm>
        </p:spPr>
        <p:txBody>
          <a:bodyPr>
            <a:spAutoFit/>
          </a:bodyPr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感谢观看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>
          <a:xfrm>
            <a:off x="1346202" y="5308199"/>
            <a:ext cx="6426198" cy="286232"/>
          </a:xfrm>
        </p:spPr>
        <p:txBody>
          <a:bodyPr>
            <a:spAutoFit/>
          </a:bodyPr>
          <a:lstStyle/>
          <a:p>
            <a:r>
              <a:rPr lang="en-US" altLang="en-US" dirty="0">
                <a:cs typeface="+mn-ea"/>
                <a:sym typeface="+mn-lt"/>
              </a:rPr>
              <a:t>2023080901004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>
            <a:spAutoFit/>
          </a:bodyPr>
          <a:lstStyle/>
          <a:p>
            <a:r>
              <a:rPr lang="zh-CN" altLang="en-US" dirty="0">
                <a:cs typeface="+mn-ea"/>
                <a:sym typeface="+mn-lt"/>
              </a:rPr>
              <a:t>陈赛格</a:t>
            </a:r>
            <a:endParaRPr lang="en-US" altLang="zh-CN" dirty="0"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/>
          <p:cNvGrpSpPr>
            <a:grpSpLocks noChangeAspect="1"/>
          </p:cNvGrpSpPr>
          <p:nvPr/>
        </p:nvGrpSpPr>
        <p:grpSpPr>
          <a:xfrm>
            <a:off x="3516752" y="1372444"/>
            <a:ext cx="6962004" cy="4113112"/>
            <a:chOff x="2126734" y="1308673"/>
            <a:chExt cx="7535439" cy="4451893"/>
          </a:xfrm>
        </p:grpSpPr>
        <p:sp>
          <p:nvSpPr>
            <p:cNvPr id="6" name="箭头: 五边形 5"/>
            <p:cNvSpPr/>
            <p:nvPr/>
          </p:nvSpPr>
          <p:spPr>
            <a:xfrm>
              <a:off x="2581830" y="1513162"/>
              <a:ext cx="7080343" cy="581337"/>
            </a:xfrm>
            <a:prstGeom prst="homePlate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anchor="ctr" anchorCtr="0" forceAA="0" compatLnSpc="1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lang="zh-CN" altLang="en-US" sz="2000" dirty="0">
                  <a:solidFill>
                    <a:srgbClr val="3F82C4"/>
                  </a:solidFill>
                  <a:cs typeface="+mn-ea"/>
                  <a:sym typeface="+mn-lt"/>
                </a:rPr>
                <a:t> 实验目的与器材</a:t>
              </a:r>
              <a:endParaRPr lang="en-US" altLang="zh-CN" sz="2000" dirty="0">
                <a:solidFill>
                  <a:srgbClr val="3F82C4"/>
                </a:solidFill>
                <a:cs typeface="+mn-ea"/>
                <a:sym typeface="+mn-lt"/>
              </a:endParaRPr>
            </a:p>
          </p:txBody>
        </p:sp>
        <p:sp>
          <p:nvSpPr>
            <p:cNvPr id="7" name="等腰三角形 6"/>
            <p:cNvSpPr/>
            <p:nvPr/>
          </p:nvSpPr>
          <p:spPr>
            <a:xfrm rot="19800000" flipH="1">
              <a:off x="2126734" y="1308673"/>
              <a:ext cx="910194" cy="78464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" name="文本框 7"/>
            <p:cNvSpPr txBox="1"/>
            <p:nvPr/>
          </p:nvSpPr>
          <p:spPr bwMode="auto">
            <a:xfrm>
              <a:off x="2408267" y="1574269"/>
              <a:ext cx="508712" cy="4663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/>
            <a:p>
              <a:pPr algn="ctr"/>
              <a:r>
                <a:rPr lang="en-US" altLang="ko-KR" sz="2000" b="1">
                  <a:solidFill>
                    <a:schemeClr val="bg1"/>
                  </a:solidFill>
                  <a:cs typeface="+mn-ea"/>
                  <a:sym typeface="+mn-lt"/>
                </a:rPr>
                <a:t>01</a:t>
              </a:r>
            </a:p>
          </p:txBody>
        </p:sp>
        <p:sp>
          <p:nvSpPr>
            <p:cNvPr id="9" name="箭头: 五边形 8"/>
            <p:cNvSpPr/>
            <p:nvPr/>
          </p:nvSpPr>
          <p:spPr>
            <a:xfrm>
              <a:off x="2581830" y="2429679"/>
              <a:ext cx="7080343" cy="581337"/>
            </a:xfrm>
            <a:prstGeom prst="homePlate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anchor="ctr" anchorCtr="0" forceAA="0" compatLnSpc="1">
              <a:normAutofit/>
            </a:bodyPr>
            <a:lstStyle/>
            <a:p>
              <a:pPr algn="ctr"/>
              <a:r>
                <a:rPr lang="zh-CN" altLang="en-US" sz="2000" dirty="0">
                  <a:solidFill>
                    <a:srgbClr val="3F82C4"/>
                  </a:solidFill>
                </a:rPr>
                <a:t>   算法分析与概要设计</a:t>
              </a:r>
            </a:p>
          </p:txBody>
        </p:sp>
        <p:sp>
          <p:nvSpPr>
            <p:cNvPr id="10" name="等腰三角形 9"/>
            <p:cNvSpPr/>
            <p:nvPr/>
          </p:nvSpPr>
          <p:spPr>
            <a:xfrm rot="19800000" flipH="1">
              <a:off x="2126734" y="2225190"/>
              <a:ext cx="910194" cy="784643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" name="文本框 10"/>
            <p:cNvSpPr txBox="1"/>
            <p:nvPr/>
          </p:nvSpPr>
          <p:spPr bwMode="auto">
            <a:xfrm>
              <a:off x="2408267" y="2490787"/>
              <a:ext cx="508712" cy="4663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/>
            <a:p>
              <a:pPr algn="ctr"/>
              <a:r>
                <a:rPr lang="en-US" altLang="ko-KR" sz="2000" b="1">
                  <a:solidFill>
                    <a:schemeClr val="bg1"/>
                  </a:solidFill>
                  <a:cs typeface="+mn-ea"/>
                  <a:sym typeface="+mn-lt"/>
                </a:rPr>
                <a:t>02</a:t>
              </a:r>
            </a:p>
          </p:txBody>
        </p:sp>
        <p:sp>
          <p:nvSpPr>
            <p:cNvPr id="12" name="箭头: 五边形 11"/>
            <p:cNvSpPr/>
            <p:nvPr/>
          </p:nvSpPr>
          <p:spPr>
            <a:xfrm>
              <a:off x="2581830" y="3346196"/>
              <a:ext cx="7080343" cy="581337"/>
            </a:xfrm>
            <a:prstGeom prst="homePlate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anchor="ctr" anchorCtr="0" forceAA="0" compatLnSpc="1">
              <a:normAutofit/>
            </a:bodyPr>
            <a:lstStyle/>
            <a:p>
              <a:pPr algn="ctr">
                <a:lnSpc>
                  <a:spcPct val="120000"/>
                </a:lnSpc>
              </a:pPr>
              <a:endParaRPr lang="en-US" altLang="zh-CN" sz="12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3" name="等腰三角形 12"/>
            <p:cNvSpPr/>
            <p:nvPr/>
          </p:nvSpPr>
          <p:spPr>
            <a:xfrm rot="19800000" flipH="1">
              <a:off x="2126734" y="3141707"/>
              <a:ext cx="910194" cy="78464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" name="文本框 13"/>
            <p:cNvSpPr txBox="1"/>
            <p:nvPr/>
          </p:nvSpPr>
          <p:spPr bwMode="auto">
            <a:xfrm>
              <a:off x="2408267" y="3407304"/>
              <a:ext cx="508712" cy="4663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/>
            <a:p>
              <a:pPr algn="ctr"/>
              <a:r>
                <a:rPr lang="en-US" altLang="ko-KR" sz="2000" b="1">
                  <a:solidFill>
                    <a:schemeClr val="bg1"/>
                  </a:solidFill>
                  <a:cs typeface="+mn-ea"/>
                  <a:sym typeface="+mn-lt"/>
                </a:rPr>
                <a:t>03</a:t>
              </a:r>
            </a:p>
          </p:txBody>
        </p:sp>
        <p:sp>
          <p:nvSpPr>
            <p:cNvPr id="15" name="箭头: 五边形 14"/>
            <p:cNvSpPr/>
            <p:nvPr/>
          </p:nvSpPr>
          <p:spPr>
            <a:xfrm>
              <a:off x="2581830" y="4262713"/>
              <a:ext cx="7080343" cy="581337"/>
            </a:xfrm>
            <a:prstGeom prst="homePlate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anchor="ctr" anchorCtr="0" forceAA="0" compatLnSpc="1">
              <a:normAutofit/>
            </a:bodyPr>
            <a:lstStyle/>
            <a:p>
              <a:pPr algn="ctr">
                <a:lnSpc>
                  <a:spcPct val="120000"/>
                </a:lnSpc>
              </a:pPr>
              <a:endParaRPr lang="en-US" altLang="zh-CN" sz="2000" dirty="0">
                <a:solidFill>
                  <a:srgbClr val="3F82C4"/>
                </a:solidFill>
                <a:cs typeface="+mn-ea"/>
                <a:sym typeface="+mn-lt"/>
              </a:endParaRPr>
            </a:p>
          </p:txBody>
        </p:sp>
        <p:sp>
          <p:nvSpPr>
            <p:cNvPr id="16" name="等腰三角形 15"/>
            <p:cNvSpPr/>
            <p:nvPr/>
          </p:nvSpPr>
          <p:spPr>
            <a:xfrm rot="19800000" flipH="1">
              <a:off x="2126734" y="4058224"/>
              <a:ext cx="910194" cy="784643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" name="文本框 16"/>
            <p:cNvSpPr txBox="1"/>
            <p:nvPr/>
          </p:nvSpPr>
          <p:spPr bwMode="auto">
            <a:xfrm>
              <a:off x="2408267" y="4323821"/>
              <a:ext cx="508712" cy="4663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/>
            <a:p>
              <a:pPr algn="ctr"/>
              <a:r>
                <a:rPr lang="en-US" altLang="ko-KR" sz="2000" b="1">
                  <a:solidFill>
                    <a:schemeClr val="bg1"/>
                  </a:solidFill>
                  <a:cs typeface="+mn-ea"/>
                  <a:sym typeface="+mn-lt"/>
                </a:rPr>
                <a:t>04</a:t>
              </a:r>
            </a:p>
          </p:txBody>
        </p:sp>
        <p:sp>
          <p:nvSpPr>
            <p:cNvPr id="18" name="箭头: 五边形 17"/>
            <p:cNvSpPr/>
            <p:nvPr/>
          </p:nvSpPr>
          <p:spPr>
            <a:xfrm>
              <a:off x="2581830" y="5179229"/>
              <a:ext cx="7080343" cy="581337"/>
            </a:xfrm>
            <a:prstGeom prst="homePlate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anchor="ctr" anchorCtr="0" forceAA="0" compatLnSpc="1">
              <a:normAutofit/>
            </a:bodyPr>
            <a:lstStyle/>
            <a:p>
              <a:pPr algn="ctr">
                <a:lnSpc>
                  <a:spcPct val="120000"/>
                </a:lnSpc>
              </a:pPr>
              <a:endParaRPr lang="en-US" altLang="zh-CN" sz="12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20" name="等腰三角形 19"/>
            <p:cNvSpPr/>
            <p:nvPr/>
          </p:nvSpPr>
          <p:spPr>
            <a:xfrm rot="19800000" flipH="1">
              <a:off x="2126734" y="4974740"/>
              <a:ext cx="910194" cy="78464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1" name="文本框 20"/>
            <p:cNvSpPr txBox="1"/>
            <p:nvPr/>
          </p:nvSpPr>
          <p:spPr bwMode="auto">
            <a:xfrm>
              <a:off x="2408267" y="5240336"/>
              <a:ext cx="508712" cy="4663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/>
            <a:p>
              <a:pPr algn="ctr"/>
              <a:r>
                <a:rPr lang="en-US" altLang="ko-KR" sz="2000" b="1">
                  <a:solidFill>
                    <a:schemeClr val="bg1"/>
                  </a:solidFill>
                  <a:cs typeface="+mn-ea"/>
                  <a:sym typeface="+mn-lt"/>
                </a:rPr>
                <a:t>05</a:t>
              </a:r>
            </a:p>
          </p:txBody>
        </p:sp>
      </p:grpSp>
      <p:sp>
        <p:nvSpPr>
          <p:cNvPr id="24" name="文本框 23">
            <a:extLst>
              <a:ext uri="{FF2B5EF4-FFF2-40B4-BE49-F238E27FC236}">
                <a16:creationId xmlns:a16="http://schemas.microsoft.com/office/drawing/2014/main" id="{DDF9B08D-E5B3-2D09-9930-56CEB24BEA3C}"/>
              </a:ext>
            </a:extLst>
          </p:cNvPr>
          <p:cNvSpPr txBox="1"/>
          <p:nvPr/>
        </p:nvSpPr>
        <p:spPr>
          <a:xfrm>
            <a:off x="4319385" y="3325907"/>
            <a:ext cx="577720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dirty="0">
                <a:solidFill>
                  <a:srgbClr val="3F82C4"/>
                </a:solidFill>
                <a:cs typeface="+mn-ea"/>
                <a:sym typeface="+mn-lt"/>
              </a:rPr>
              <a:t>      核心算法</a:t>
            </a:r>
            <a:r>
              <a:rPr lang="en-US" altLang="zh-CN" sz="2000" dirty="0">
                <a:solidFill>
                  <a:srgbClr val="3F82C4"/>
                </a:solidFill>
                <a:cs typeface="+mn-ea"/>
                <a:sym typeface="+mn-lt"/>
              </a:rPr>
              <a:t>——</a:t>
            </a:r>
            <a:r>
              <a:rPr lang="zh-CN" altLang="en-US" sz="2000" dirty="0">
                <a:solidFill>
                  <a:srgbClr val="3F82C4"/>
                </a:solidFill>
                <a:cs typeface="+mn-ea"/>
                <a:sym typeface="+mn-lt"/>
              </a:rPr>
              <a:t>电脑如何落子？</a:t>
            </a:r>
            <a:endParaRPr lang="zh-CN" altLang="en-US" sz="2000" dirty="0">
              <a:solidFill>
                <a:srgbClr val="3F82C4"/>
              </a:solidFill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F9E29A1A-F621-279B-2AD9-AAD0E4FE3018}"/>
              </a:ext>
            </a:extLst>
          </p:cNvPr>
          <p:cNvSpPr txBox="1"/>
          <p:nvPr/>
        </p:nvSpPr>
        <p:spPr>
          <a:xfrm>
            <a:off x="2401481" y="1561372"/>
            <a:ext cx="954107" cy="4288972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zh-CN" altLang="en-US" sz="5000" dirty="0">
                <a:solidFill>
                  <a:srgbClr val="3F82C4"/>
                </a:solidFill>
              </a:rPr>
              <a:t>目录</a:t>
            </a: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59C7F194-70E3-5C41-956E-13A0AB70968E}"/>
              </a:ext>
            </a:extLst>
          </p:cNvPr>
          <p:cNvSpPr txBox="1"/>
          <p:nvPr/>
        </p:nvSpPr>
        <p:spPr>
          <a:xfrm>
            <a:off x="3973222" y="4185213"/>
            <a:ext cx="64695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dirty="0">
                <a:solidFill>
                  <a:srgbClr val="3F82C4"/>
                </a:solidFill>
              </a:rPr>
              <a:t>实验结果分析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6D9FD076-EB28-D0FD-BA2D-702D146E4A2E}"/>
              </a:ext>
            </a:extLst>
          </p:cNvPr>
          <p:cNvSpPr txBox="1"/>
          <p:nvPr/>
        </p:nvSpPr>
        <p:spPr>
          <a:xfrm>
            <a:off x="4153635" y="4996089"/>
            <a:ext cx="61087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dirty="0">
                <a:solidFill>
                  <a:srgbClr val="3F82C4"/>
                </a:solidFill>
              </a:rPr>
              <a:t>总结与心得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1965655" y="951138"/>
            <a:ext cx="5419185" cy="424732"/>
          </a:xfrm>
        </p:spPr>
        <p:txBody>
          <a:bodyPr>
            <a:spAutoFit/>
          </a:bodyPr>
          <a:lstStyle/>
          <a:p>
            <a:r>
              <a:rPr lang="zh-CN" altLang="en-US" dirty="0">
                <a:solidFill>
                  <a:srgbClr val="3F82C4"/>
                </a:solidFill>
                <a:latin typeface="+mn-lt"/>
                <a:ea typeface="+mn-ea"/>
                <a:cs typeface="+mn-ea"/>
                <a:sym typeface="+mn-lt"/>
              </a:rPr>
              <a:t>实验目的与器材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1668263" y="2263514"/>
            <a:ext cx="5716577" cy="348813"/>
          </a:xfrm>
        </p:spPr>
        <p:txBody>
          <a:bodyPr wrap="square">
            <a:spAutoFit/>
          </a:bodyPr>
          <a:lstStyle/>
          <a:p>
            <a:pPr marL="0" marR="0" indent="304800" algn="just">
              <a:lnSpc>
                <a:spcPts val="2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kern="100" dirty="0">
                <a:effectLst/>
                <a:latin typeface="Times New Roman" panose="02020603050405020304" pitchFamily="18" charset="0"/>
                <a:ea typeface="楷体" panose="02010609060101010101" pitchFamily="49" charset="-122"/>
              </a:rPr>
              <a:t>（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楷体" panose="02010609060101010101" pitchFamily="49" charset="-122"/>
              </a:rPr>
              <a:t>1</a:t>
            </a:r>
            <a:r>
              <a:rPr lang="zh-CN" altLang="en-US" sz="1800" kern="100" dirty="0">
                <a:effectLst/>
                <a:latin typeface="Times New Roman" panose="02020603050405020304" pitchFamily="18" charset="0"/>
                <a:ea typeface="楷体" panose="02010609060101010101" pitchFamily="49" charset="-122"/>
              </a:rPr>
              <a:t>）</a:t>
            </a:r>
            <a:r>
              <a:rPr lang="zh-CN" altLang="en-US" sz="18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设计出能够自动与玩家对下的五子棋程序</a:t>
            </a:r>
            <a:endParaRPr lang="zh-CN" altLang="en-US" sz="1800" kern="100" dirty="0">
              <a:effectLst/>
              <a:latin typeface="Times New Roman" panose="02020603050405020304" pitchFamily="18" charset="0"/>
              <a:ea typeface="楷体" panose="02010609060101010101" pitchFamily="49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693733" y="85452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01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3BB197DA-4FE0-639E-30BC-4E53F0A02DB6}"/>
              </a:ext>
            </a:extLst>
          </p:cNvPr>
          <p:cNvSpPr txBox="1"/>
          <p:nvPr/>
        </p:nvSpPr>
        <p:spPr>
          <a:xfrm>
            <a:off x="1965655" y="1856157"/>
            <a:ext cx="42835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.</a:t>
            </a:r>
            <a:r>
              <a:rPr lang="zh-CN" altLang="en-US" dirty="0"/>
              <a:t>实验目的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5389C669-AFED-A82D-0924-3B1637423F55}"/>
              </a:ext>
            </a:extLst>
          </p:cNvPr>
          <p:cNvSpPr txBox="1"/>
          <p:nvPr/>
        </p:nvSpPr>
        <p:spPr>
          <a:xfrm>
            <a:off x="1965655" y="3989614"/>
            <a:ext cx="5278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2.</a:t>
            </a:r>
            <a:r>
              <a:rPr lang="zh-CN" altLang="en-US" dirty="0"/>
              <a:t>实验器材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BF67B452-B3E6-C012-050C-2991BCB91F11}"/>
              </a:ext>
            </a:extLst>
          </p:cNvPr>
          <p:cNvSpPr txBox="1"/>
          <p:nvPr/>
        </p:nvSpPr>
        <p:spPr>
          <a:xfrm>
            <a:off x="1668263" y="2804364"/>
            <a:ext cx="5012088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304800" algn="just">
              <a:lnSpc>
                <a:spcPts val="2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（</a:t>
            </a:r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</a:rPr>
              <a:t>2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）</a:t>
            </a:r>
            <a:r>
              <a:rPr lang="zh-CN" altLang="en-US" sz="18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了解、学习、熟悉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楷体" panose="02010609060101010101" pitchFamily="49" charset="-122"/>
              </a:rPr>
              <a:t>C</a:t>
            </a:r>
            <a:r>
              <a:rPr lang="zh-CN" altLang="en-US" sz="18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语言</a:t>
            </a:r>
            <a:endParaRPr lang="zh-CN" altLang="en-US" sz="1800" kern="100" dirty="0">
              <a:effectLst/>
              <a:latin typeface="Times New Roman" panose="02020603050405020304" pitchFamily="18" charset="0"/>
              <a:ea typeface="楷体" panose="02010609060101010101" pitchFamily="49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A96A4702-C49D-E00B-1792-91B567E2FDC2}"/>
              </a:ext>
            </a:extLst>
          </p:cNvPr>
          <p:cNvSpPr txBox="1"/>
          <p:nvPr/>
        </p:nvSpPr>
        <p:spPr>
          <a:xfrm>
            <a:off x="1668263" y="3345214"/>
            <a:ext cx="5278454" cy="6258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304800" algn="just">
              <a:lnSpc>
                <a:spcPts val="2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（</a:t>
            </a:r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</a:rPr>
              <a:t>3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）</a:t>
            </a:r>
            <a:r>
              <a:rPr lang="zh-CN" altLang="en-US" kern="100" dirty="0">
                <a:latin typeface="楷体" panose="02010609060101010101" pitchFamily="49" charset="-122"/>
                <a:ea typeface="楷体" panose="02010609060101010101" pitchFamily="49" charset="-122"/>
              </a:rPr>
              <a:t>学习</a:t>
            </a:r>
            <a:r>
              <a:rPr lang="zh-CN" altLang="en-US" sz="18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更多的算法思路</a:t>
            </a:r>
            <a:endParaRPr lang="zh-CN" altLang="en-US" sz="1800" kern="100" dirty="0">
              <a:effectLst/>
              <a:latin typeface="Times New Roman" panose="02020603050405020304" pitchFamily="18" charset="0"/>
              <a:ea typeface="楷体" panose="02010609060101010101" pitchFamily="49" charset="-122"/>
            </a:endParaRPr>
          </a:p>
          <a:p>
            <a:endParaRPr lang="zh-CN" altLang="en-US" dirty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86EE3B75-12FC-7457-542E-3516FA170408}"/>
              </a:ext>
            </a:extLst>
          </p:cNvPr>
          <p:cNvSpPr txBox="1"/>
          <p:nvPr/>
        </p:nvSpPr>
        <p:spPr>
          <a:xfrm>
            <a:off x="1668263" y="4459706"/>
            <a:ext cx="5763201" cy="11182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304800" algn="just">
              <a:lnSpc>
                <a:spcPts val="2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华硕灵耀</a:t>
            </a:r>
            <a:r>
              <a:rPr lang="en-US" altLang="zh-CN" sz="18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Pro14 2023 i9-13900H RTX4060 32G 1T</a:t>
            </a:r>
          </a:p>
          <a:p>
            <a:pPr marL="0" marR="0" indent="304800" algn="just">
              <a:lnSpc>
                <a:spcPts val="2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Windows 11</a:t>
            </a:r>
          </a:p>
          <a:p>
            <a:pPr marL="0" marR="0" indent="304800" algn="just">
              <a:lnSpc>
                <a:spcPts val="2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C</a:t>
            </a:r>
            <a:r>
              <a:rPr lang="zh-CN" altLang="en-US" sz="18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语言</a:t>
            </a:r>
          </a:p>
          <a:p>
            <a:pPr marL="0" marR="0" indent="304800" algn="just">
              <a:lnSpc>
                <a:spcPts val="2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CLion2023.2.1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531A217F-BFD9-DDE4-B78A-C4B71D353780}"/>
              </a:ext>
            </a:extLst>
          </p:cNvPr>
          <p:cNvSpPr txBox="1"/>
          <p:nvPr/>
        </p:nvSpPr>
        <p:spPr>
          <a:xfrm>
            <a:off x="6946717" y="2225489"/>
            <a:ext cx="447514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kern="100" dirty="0">
                <a:solidFill>
                  <a:srgbClr val="3F82C4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利用</a:t>
            </a:r>
            <a:r>
              <a:rPr lang="en-US" altLang="zh-CN" sz="1800" kern="100" dirty="0" err="1">
                <a:solidFill>
                  <a:srgbClr val="3F82C4"/>
                </a:solidFill>
                <a:effectLst/>
                <a:latin typeface="Times New Roman" panose="02020603050405020304" pitchFamily="18" charset="0"/>
                <a:ea typeface="楷体" panose="02010609060101010101" pitchFamily="49" charset="-122"/>
              </a:rPr>
              <a:t>raylib</a:t>
            </a:r>
            <a:r>
              <a:rPr lang="zh-CN" altLang="en-US" sz="1800" kern="100" dirty="0">
                <a:solidFill>
                  <a:srgbClr val="3F82C4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图形库进行前端页面设计（如画棋盘、落子），以二维数组记录棋盘上该点是否落子及落子的颜色，当玩家落子之后，电脑使用估值函数开始对每一个空着的点进行打分，随后电脑在分值最大的位置落子，完成一次对下，如此循环，实现人机对弈的目标。</a:t>
            </a:r>
            <a:endParaRPr lang="zh-CN" altLang="en-US" sz="1800" kern="100" dirty="0">
              <a:solidFill>
                <a:srgbClr val="3F82C4"/>
              </a:solidFill>
              <a:effectLst/>
              <a:latin typeface="Times New Roman" panose="02020603050405020304" pitchFamily="18" charset="0"/>
              <a:ea typeface="楷体" panose="02010609060101010101" pitchFamily="49" charset="-122"/>
            </a:endParaRPr>
          </a:p>
          <a:p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  <p:bldP spid="4" grpId="0"/>
      <p:bldP spid="7" grpId="0"/>
      <p:bldP spid="10" grpId="0"/>
      <p:bldP spid="1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868650" y="1347608"/>
            <a:ext cx="10559476" cy="4564108"/>
            <a:chOff x="816262" y="1371421"/>
            <a:chExt cx="10559476" cy="4564108"/>
          </a:xfrm>
        </p:grpSpPr>
        <p:sp>
          <p:nvSpPr>
            <p:cNvPr id="6" name="直接连接符 5"/>
            <p:cNvSpPr/>
            <p:nvPr/>
          </p:nvSpPr>
          <p:spPr bwMode="auto">
            <a:xfrm flipV="1">
              <a:off x="6100330" y="2205498"/>
              <a:ext cx="0" cy="1648652"/>
            </a:xfrm>
            <a:prstGeom prst="line">
              <a:avLst/>
            </a:prstGeom>
            <a:noFill/>
            <a:ln w="15875">
              <a:solidFill>
                <a:schemeClr val="bg1">
                  <a:lumMod val="85000"/>
                </a:schemeClr>
              </a:solidFill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defTabSz="41275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en-US" sz="100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7" name="任意多边形: 形状 6"/>
            <p:cNvSpPr/>
            <p:nvPr/>
          </p:nvSpPr>
          <p:spPr bwMode="auto">
            <a:xfrm>
              <a:off x="6337238" y="2205498"/>
              <a:ext cx="4095756" cy="1602151"/>
            </a:xfrm>
            <a:custGeom>
              <a:avLst/>
              <a:gdLst>
                <a:gd name="T0" fmla="*/ 4095819 w 21590"/>
                <a:gd name="T1" fmla="*/ 1602257 h 21600"/>
                <a:gd name="T2" fmla="*/ 4095819 w 21590"/>
                <a:gd name="T3" fmla="*/ 1602257 h 21600"/>
                <a:gd name="T4" fmla="*/ 4095819 w 21590"/>
                <a:gd name="T5" fmla="*/ 1602257 h 21600"/>
                <a:gd name="T6" fmla="*/ 4095819 w 21590"/>
                <a:gd name="T7" fmla="*/ 1602257 h 21600"/>
                <a:gd name="T8" fmla="*/ 0 60000 65536"/>
                <a:gd name="T9" fmla="*/ 5898240 60000 65536"/>
                <a:gd name="T10" fmla="*/ 11796480 60000 65536"/>
                <a:gd name="T11" fmla="*/ 1769472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590" h="21600" extrusionOk="0">
                  <a:moveTo>
                    <a:pt x="0" y="0"/>
                  </a:moveTo>
                  <a:lnTo>
                    <a:pt x="0" y="8447"/>
                  </a:lnTo>
                  <a:cubicBezTo>
                    <a:pt x="1" y="8822"/>
                    <a:pt x="57" y="9183"/>
                    <a:pt x="155" y="9460"/>
                  </a:cubicBezTo>
                  <a:cubicBezTo>
                    <a:pt x="276" y="9798"/>
                    <a:pt x="448" y="9982"/>
                    <a:pt x="626" y="9963"/>
                  </a:cubicBezTo>
                  <a:lnTo>
                    <a:pt x="21025" y="9963"/>
                  </a:lnTo>
                  <a:cubicBezTo>
                    <a:pt x="21180" y="9934"/>
                    <a:pt x="21331" y="10081"/>
                    <a:pt x="21440" y="10365"/>
                  </a:cubicBezTo>
                  <a:cubicBezTo>
                    <a:pt x="21546" y="10642"/>
                    <a:pt x="21600" y="11021"/>
                    <a:pt x="21589" y="11406"/>
                  </a:cubicBezTo>
                  <a:lnTo>
                    <a:pt x="21589" y="21600"/>
                  </a:lnTo>
                </a:path>
              </a:pathLst>
            </a:custGeom>
            <a:noFill/>
            <a:ln w="15875">
              <a:solidFill>
                <a:schemeClr val="bg1">
                  <a:lumMod val="85000"/>
                </a:schemeClr>
              </a:solidFill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defTabSz="41275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en-US" sz="100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8" name="任意多边形: 形状 7"/>
            <p:cNvSpPr/>
            <p:nvPr/>
          </p:nvSpPr>
          <p:spPr bwMode="auto">
            <a:xfrm>
              <a:off x="6220923" y="2205498"/>
              <a:ext cx="2051088" cy="1615602"/>
            </a:xfrm>
            <a:custGeom>
              <a:avLst/>
              <a:gdLst>
                <a:gd name="T0" fmla="*/ 2051120 w 21580"/>
                <a:gd name="T1" fmla="*/ 1615710 h 21600"/>
                <a:gd name="T2" fmla="*/ 2051120 w 21580"/>
                <a:gd name="T3" fmla="*/ 1615710 h 21600"/>
                <a:gd name="T4" fmla="*/ 2051120 w 21580"/>
                <a:gd name="T5" fmla="*/ 1615710 h 21600"/>
                <a:gd name="T6" fmla="*/ 2051120 w 21580"/>
                <a:gd name="T7" fmla="*/ 1615710 h 21600"/>
                <a:gd name="T8" fmla="*/ 0 60000 65536"/>
                <a:gd name="T9" fmla="*/ 5898240 60000 65536"/>
                <a:gd name="T10" fmla="*/ 11796480 60000 65536"/>
                <a:gd name="T11" fmla="*/ 1769472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580" h="21600" extrusionOk="0">
                  <a:moveTo>
                    <a:pt x="34" y="0"/>
                  </a:moveTo>
                  <a:lnTo>
                    <a:pt x="0" y="9660"/>
                  </a:lnTo>
                  <a:cubicBezTo>
                    <a:pt x="-1" y="10100"/>
                    <a:pt x="128" y="10523"/>
                    <a:pt x="361" y="10847"/>
                  </a:cubicBezTo>
                  <a:cubicBezTo>
                    <a:pt x="624" y="11211"/>
                    <a:pt x="995" y="11419"/>
                    <a:pt x="1383" y="11418"/>
                  </a:cubicBezTo>
                  <a:lnTo>
                    <a:pt x="20451" y="11418"/>
                  </a:lnTo>
                  <a:cubicBezTo>
                    <a:pt x="20760" y="11390"/>
                    <a:pt x="21063" y="11536"/>
                    <a:pt x="21280" y="11817"/>
                  </a:cubicBezTo>
                  <a:cubicBezTo>
                    <a:pt x="21491" y="12091"/>
                    <a:pt x="21599" y="12467"/>
                    <a:pt x="21577" y="12849"/>
                  </a:cubicBezTo>
                  <a:lnTo>
                    <a:pt x="21577" y="21600"/>
                  </a:lnTo>
                </a:path>
              </a:pathLst>
            </a:custGeom>
            <a:noFill/>
            <a:ln w="15875">
              <a:solidFill>
                <a:schemeClr val="bg1">
                  <a:lumMod val="85000"/>
                </a:schemeClr>
              </a:solidFill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defTabSz="41275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en-US" sz="100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9" name="任意多边形: 形状 8"/>
            <p:cNvSpPr/>
            <p:nvPr/>
          </p:nvSpPr>
          <p:spPr bwMode="auto">
            <a:xfrm>
              <a:off x="3928642" y="2205498"/>
              <a:ext cx="2051095" cy="1615602"/>
            </a:xfrm>
            <a:custGeom>
              <a:avLst/>
              <a:gdLst>
                <a:gd name="T0" fmla="*/ 2051126 w 21580"/>
                <a:gd name="T1" fmla="*/ 1615710 h 21600"/>
                <a:gd name="T2" fmla="*/ 2051126 w 21580"/>
                <a:gd name="T3" fmla="*/ 1615710 h 21600"/>
                <a:gd name="T4" fmla="*/ 2051126 w 21580"/>
                <a:gd name="T5" fmla="*/ 1615710 h 21600"/>
                <a:gd name="T6" fmla="*/ 2051126 w 21580"/>
                <a:gd name="T7" fmla="*/ 1615710 h 21600"/>
                <a:gd name="T8" fmla="*/ 0 60000 65536"/>
                <a:gd name="T9" fmla="*/ 5898240 60000 65536"/>
                <a:gd name="T10" fmla="*/ 11796480 60000 65536"/>
                <a:gd name="T11" fmla="*/ 1769472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580" h="21600" extrusionOk="0">
                  <a:moveTo>
                    <a:pt x="21546" y="0"/>
                  </a:moveTo>
                  <a:lnTo>
                    <a:pt x="21580" y="9660"/>
                  </a:lnTo>
                  <a:cubicBezTo>
                    <a:pt x="21581" y="10100"/>
                    <a:pt x="21452" y="10523"/>
                    <a:pt x="21219" y="10847"/>
                  </a:cubicBezTo>
                  <a:cubicBezTo>
                    <a:pt x="20956" y="11211"/>
                    <a:pt x="20585" y="11419"/>
                    <a:pt x="20197" y="11418"/>
                  </a:cubicBezTo>
                  <a:lnTo>
                    <a:pt x="1129" y="11418"/>
                  </a:lnTo>
                  <a:cubicBezTo>
                    <a:pt x="820" y="11390"/>
                    <a:pt x="517" y="11536"/>
                    <a:pt x="300" y="11817"/>
                  </a:cubicBezTo>
                  <a:cubicBezTo>
                    <a:pt x="89" y="12091"/>
                    <a:pt x="-19" y="12467"/>
                    <a:pt x="3" y="12849"/>
                  </a:cubicBezTo>
                  <a:lnTo>
                    <a:pt x="3" y="21600"/>
                  </a:lnTo>
                </a:path>
              </a:pathLst>
            </a:custGeom>
            <a:noFill/>
            <a:ln w="15875">
              <a:solidFill>
                <a:schemeClr val="bg1">
                  <a:lumMod val="85000"/>
                </a:schemeClr>
              </a:solidFill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defTabSz="41275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en-US" sz="100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10" name="任意多边形: 形状 9"/>
            <p:cNvSpPr/>
            <p:nvPr/>
          </p:nvSpPr>
          <p:spPr bwMode="auto">
            <a:xfrm>
              <a:off x="1759007" y="2205498"/>
              <a:ext cx="4095762" cy="1621200"/>
            </a:xfrm>
            <a:custGeom>
              <a:avLst/>
              <a:gdLst>
                <a:gd name="T0" fmla="*/ 4095825 w 21590"/>
                <a:gd name="T1" fmla="*/ 1621307 h 21600"/>
                <a:gd name="T2" fmla="*/ 4095825 w 21590"/>
                <a:gd name="T3" fmla="*/ 1621307 h 21600"/>
                <a:gd name="T4" fmla="*/ 4095825 w 21590"/>
                <a:gd name="T5" fmla="*/ 1621307 h 21600"/>
                <a:gd name="T6" fmla="*/ 4095825 w 21590"/>
                <a:gd name="T7" fmla="*/ 1621307 h 21600"/>
                <a:gd name="T8" fmla="*/ 0 60000 65536"/>
                <a:gd name="T9" fmla="*/ 5898240 60000 65536"/>
                <a:gd name="T10" fmla="*/ 11796480 60000 65536"/>
                <a:gd name="T11" fmla="*/ 1769472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590" h="21600" extrusionOk="0">
                  <a:moveTo>
                    <a:pt x="21590" y="0"/>
                  </a:moveTo>
                  <a:lnTo>
                    <a:pt x="21590" y="8602"/>
                  </a:lnTo>
                  <a:cubicBezTo>
                    <a:pt x="21589" y="8973"/>
                    <a:pt x="21533" y="9329"/>
                    <a:pt x="21435" y="9603"/>
                  </a:cubicBezTo>
                  <a:cubicBezTo>
                    <a:pt x="21314" y="9936"/>
                    <a:pt x="21142" y="10118"/>
                    <a:pt x="20964" y="10099"/>
                  </a:cubicBezTo>
                  <a:lnTo>
                    <a:pt x="565" y="10099"/>
                  </a:lnTo>
                  <a:cubicBezTo>
                    <a:pt x="410" y="10071"/>
                    <a:pt x="259" y="10217"/>
                    <a:pt x="150" y="10497"/>
                  </a:cubicBezTo>
                  <a:cubicBezTo>
                    <a:pt x="44" y="10770"/>
                    <a:pt x="-10" y="11145"/>
                    <a:pt x="1" y="11526"/>
                  </a:cubicBezTo>
                  <a:lnTo>
                    <a:pt x="1" y="21600"/>
                  </a:lnTo>
                </a:path>
              </a:pathLst>
            </a:custGeom>
            <a:noFill/>
            <a:ln w="15875">
              <a:solidFill>
                <a:schemeClr val="bg1">
                  <a:lumMod val="85000"/>
                </a:schemeClr>
              </a:solidFill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defTabSz="41275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en-US" sz="100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11" name="矩形: 圆角 10"/>
            <p:cNvSpPr/>
            <p:nvPr/>
          </p:nvSpPr>
          <p:spPr bwMode="auto">
            <a:xfrm>
              <a:off x="4262350" y="1371421"/>
              <a:ext cx="3667300" cy="855375"/>
            </a:xfrm>
            <a:prstGeom prst="roundRect">
              <a:avLst>
                <a:gd name="adj" fmla="val 9644"/>
              </a:avLst>
            </a:prstGeom>
            <a:solidFill>
              <a:schemeClr val="bg1">
                <a:lumMod val="95000"/>
                <a:alpha val="74901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zh-CN" altLang="en-US" sz="3200" b="1" i="1" dirty="0">
                  <a:solidFill>
                    <a:srgbClr val="3F82C4"/>
                  </a:solidFill>
                  <a:cs typeface="+mn-ea"/>
                  <a:sym typeface="+mn-lt"/>
                </a:rPr>
                <a:t>各个模块</a:t>
              </a:r>
              <a:endParaRPr lang="en-US" altLang="zh-CN" sz="3200" i="1" dirty="0">
                <a:solidFill>
                  <a:srgbClr val="3F82C4"/>
                </a:solidFill>
                <a:cs typeface="+mn-ea"/>
                <a:sym typeface="+mn-lt"/>
              </a:endParaRPr>
            </a:p>
          </p:txBody>
        </p:sp>
        <p:grpSp>
          <p:nvGrpSpPr>
            <p:cNvPr id="12" name="组合 11"/>
            <p:cNvGrpSpPr/>
            <p:nvPr/>
          </p:nvGrpSpPr>
          <p:grpSpPr>
            <a:xfrm>
              <a:off x="816262" y="3701963"/>
              <a:ext cx="1887768" cy="2203716"/>
              <a:chOff x="816262" y="3701963"/>
              <a:chExt cx="1887768" cy="2203716"/>
            </a:xfrm>
          </p:grpSpPr>
          <p:sp>
            <p:nvSpPr>
              <p:cNvPr id="37" name="任意多边形: 形状 36"/>
              <p:cNvSpPr/>
              <p:nvPr/>
            </p:nvSpPr>
            <p:spPr bwMode="auto">
              <a:xfrm>
                <a:off x="816262" y="4018038"/>
                <a:ext cx="1887768" cy="1887641"/>
              </a:xfrm>
              <a:custGeom>
                <a:avLst/>
                <a:gdLst>
                  <a:gd name="T0" fmla="*/ 1887797 w 19679"/>
                  <a:gd name="T1" fmla="*/ 1887767 h 20595"/>
                  <a:gd name="T2" fmla="*/ 1887797 w 19679"/>
                  <a:gd name="T3" fmla="*/ 1887767 h 20595"/>
                  <a:gd name="T4" fmla="*/ 1887797 w 19679"/>
                  <a:gd name="T5" fmla="*/ 1887767 h 20595"/>
                  <a:gd name="T6" fmla="*/ 1887797 w 19679"/>
                  <a:gd name="T7" fmla="*/ 1887767 h 20595"/>
                  <a:gd name="T8" fmla="*/ 0 60000 65536"/>
                  <a:gd name="T9" fmla="*/ 5898240 60000 65536"/>
                  <a:gd name="T10" fmla="*/ 11796480 60000 65536"/>
                  <a:gd name="T11" fmla="*/ 1769472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679" h="20595" extrusionOk="0">
                    <a:moveTo>
                      <a:pt x="9840" y="0"/>
                    </a:moveTo>
                    <a:cubicBezTo>
                      <a:pt x="7322" y="0"/>
                      <a:pt x="4803" y="1005"/>
                      <a:pt x="2881" y="3016"/>
                    </a:cubicBezTo>
                    <a:cubicBezTo>
                      <a:pt x="-961" y="7037"/>
                      <a:pt x="-961" y="13557"/>
                      <a:pt x="2881" y="17579"/>
                    </a:cubicBezTo>
                    <a:cubicBezTo>
                      <a:pt x="6724" y="21600"/>
                      <a:pt x="12954" y="21600"/>
                      <a:pt x="16797" y="17579"/>
                    </a:cubicBezTo>
                    <a:cubicBezTo>
                      <a:pt x="20639" y="13557"/>
                      <a:pt x="20639" y="7037"/>
                      <a:pt x="16797" y="3016"/>
                    </a:cubicBezTo>
                    <a:cubicBezTo>
                      <a:pt x="14875" y="1005"/>
                      <a:pt x="12358" y="0"/>
                      <a:pt x="9840" y="0"/>
                    </a:cubicBezTo>
                    <a:close/>
                    <a:moveTo>
                      <a:pt x="9840" y="784"/>
                    </a:moveTo>
                    <a:cubicBezTo>
                      <a:pt x="12166" y="784"/>
                      <a:pt x="14492" y="1712"/>
                      <a:pt x="16267" y="3570"/>
                    </a:cubicBezTo>
                    <a:cubicBezTo>
                      <a:pt x="18047" y="5433"/>
                      <a:pt x="18935" y="7876"/>
                      <a:pt x="18929" y="10318"/>
                    </a:cubicBezTo>
                    <a:lnTo>
                      <a:pt x="749" y="10318"/>
                    </a:lnTo>
                    <a:cubicBezTo>
                      <a:pt x="743" y="7876"/>
                      <a:pt x="1631" y="5433"/>
                      <a:pt x="3411" y="3570"/>
                    </a:cubicBezTo>
                    <a:cubicBezTo>
                      <a:pt x="5186" y="1712"/>
                      <a:pt x="7514" y="784"/>
                      <a:pt x="9840" y="784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41275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000">
                  <a:solidFill>
                    <a:srgbClr val="252D30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8" name="椭圆 37"/>
              <p:cNvSpPr/>
              <p:nvPr/>
            </p:nvSpPr>
            <p:spPr bwMode="auto">
              <a:xfrm flipH="1">
                <a:off x="1683914" y="3701963"/>
                <a:ext cx="152464" cy="152456"/>
              </a:xfrm>
              <a:prstGeom prst="ellipse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  <a:miter lim="400000"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4127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160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0" name="文本框 39"/>
              <p:cNvSpPr txBox="1"/>
              <p:nvPr/>
            </p:nvSpPr>
            <p:spPr bwMode="auto">
              <a:xfrm>
                <a:off x="1097909" y="4422243"/>
                <a:ext cx="1322196" cy="325672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2000" b="1" dirty="0">
                    <a:solidFill>
                      <a:srgbClr val="3F82C4"/>
                    </a:solidFill>
                    <a:cs typeface="+mn-ea"/>
                    <a:sym typeface="+mn-lt"/>
                  </a:rPr>
                  <a:t>绘制棋盘</a:t>
                </a:r>
                <a:endParaRPr lang="en-US" altLang="zh-CN" sz="2000" b="1" dirty="0">
                  <a:solidFill>
                    <a:srgbClr val="3F82C4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2984189" y="3701963"/>
              <a:ext cx="1887768" cy="2203716"/>
              <a:chOff x="2984189" y="3701963"/>
              <a:chExt cx="1887768" cy="2203716"/>
            </a:xfrm>
          </p:grpSpPr>
          <p:sp>
            <p:nvSpPr>
              <p:cNvPr id="32" name="任意多边形: 形状 31"/>
              <p:cNvSpPr/>
              <p:nvPr/>
            </p:nvSpPr>
            <p:spPr bwMode="auto">
              <a:xfrm>
                <a:off x="2984189" y="4018038"/>
                <a:ext cx="1887768" cy="1887641"/>
              </a:xfrm>
              <a:custGeom>
                <a:avLst/>
                <a:gdLst>
                  <a:gd name="T0" fmla="*/ 1887797 w 19679"/>
                  <a:gd name="T1" fmla="*/ 1887767 h 20595"/>
                  <a:gd name="T2" fmla="*/ 1887797 w 19679"/>
                  <a:gd name="T3" fmla="*/ 1887767 h 20595"/>
                  <a:gd name="T4" fmla="*/ 1887797 w 19679"/>
                  <a:gd name="T5" fmla="*/ 1887767 h 20595"/>
                  <a:gd name="T6" fmla="*/ 1887797 w 19679"/>
                  <a:gd name="T7" fmla="*/ 1887767 h 20595"/>
                  <a:gd name="T8" fmla="*/ 0 60000 65536"/>
                  <a:gd name="T9" fmla="*/ 5898240 60000 65536"/>
                  <a:gd name="T10" fmla="*/ 11796480 60000 65536"/>
                  <a:gd name="T11" fmla="*/ 1769472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679" h="20595" extrusionOk="0">
                    <a:moveTo>
                      <a:pt x="9840" y="0"/>
                    </a:moveTo>
                    <a:cubicBezTo>
                      <a:pt x="7322" y="0"/>
                      <a:pt x="4803" y="1005"/>
                      <a:pt x="2881" y="3016"/>
                    </a:cubicBezTo>
                    <a:cubicBezTo>
                      <a:pt x="-961" y="7037"/>
                      <a:pt x="-961" y="13557"/>
                      <a:pt x="2881" y="17579"/>
                    </a:cubicBezTo>
                    <a:cubicBezTo>
                      <a:pt x="6724" y="21600"/>
                      <a:pt x="12954" y="21600"/>
                      <a:pt x="16797" y="17579"/>
                    </a:cubicBezTo>
                    <a:cubicBezTo>
                      <a:pt x="20639" y="13557"/>
                      <a:pt x="20639" y="7037"/>
                      <a:pt x="16797" y="3016"/>
                    </a:cubicBezTo>
                    <a:cubicBezTo>
                      <a:pt x="14875" y="1005"/>
                      <a:pt x="12358" y="0"/>
                      <a:pt x="9840" y="0"/>
                    </a:cubicBezTo>
                    <a:close/>
                    <a:moveTo>
                      <a:pt x="9840" y="784"/>
                    </a:moveTo>
                    <a:cubicBezTo>
                      <a:pt x="12166" y="784"/>
                      <a:pt x="14492" y="1712"/>
                      <a:pt x="16267" y="3570"/>
                    </a:cubicBezTo>
                    <a:cubicBezTo>
                      <a:pt x="18047" y="5433"/>
                      <a:pt x="18935" y="7876"/>
                      <a:pt x="18929" y="10318"/>
                    </a:cubicBezTo>
                    <a:lnTo>
                      <a:pt x="749" y="10318"/>
                    </a:lnTo>
                    <a:cubicBezTo>
                      <a:pt x="743" y="7876"/>
                      <a:pt x="1631" y="5433"/>
                      <a:pt x="3411" y="3570"/>
                    </a:cubicBezTo>
                    <a:cubicBezTo>
                      <a:pt x="5186" y="1712"/>
                      <a:pt x="7514" y="784"/>
                      <a:pt x="9840" y="784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41275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000">
                  <a:solidFill>
                    <a:srgbClr val="252D30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3" name="椭圆 32"/>
              <p:cNvSpPr/>
              <p:nvPr/>
            </p:nvSpPr>
            <p:spPr bwMode="auto">
              <a:xfrm flipH="1">
                <a:off x="3851841" y="3701963"/>
                <a:ext cx="152464" cy="152456"/>
              </a:xfrm>
              <a:prstGeom prst="ellipse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  <a:miter lim="400000"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4127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160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5" name="文本框 34"/>
              <p:cNvSpPr txBox="1"/>
              <p:nvPr/>
            </p:nvSpPr>
            <p:spPr bwMode="auto">
              <a:xfrm>
                <a:off x="3266975" y="4422243"/>
                <a:ext cx="1322196" cy="325672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2000" b="1" dirty="0">
                    <a:solidFill>
                      <a:srgbClr val="3F82C4"/>
                    </a:solidFill>
                    <a:cs typeface="+mn-ea"/>
                    <a:sym typeface="+mn-lt"/>
                  </a:rPr>
                  <a:t>玩家落子</a:t>
                </a:r>
                <a:endParaRPr lang="en-US" altLang="zh-CN" sz="2000" b="1" dirty="0">
                  <a:solidFill>
                    <a:srgbClr val="3F82C4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14" name="组合 13"/>
            <p:cNvGrpSpPr/>
            <p:nvPr/>
          </p:nvGrpSpPr>
          <p:grpSpPr>
            <a:xfrm>
              <a:off x="5152117" y="3701963"/>
              <a:ext cx="1887768" cy="2203716"/>
              <a:chOff x="5152117" y="3701963"/>
              <a:chExt cx="1887768" cy="2203716"/>
            </a:xfrm>
          </p:grpSpPr>
          <p:sp>
            <p:nvSpPr>
              <p:cNvPr id="27" name="任意多边形: 形状 26"/>
              <p:cNvSpPr/>
              <p:nvPr/>
            </p:nvSpPr>
            <p:spPr bwMode="auto">
              <a:xfrm>
                <a:off x="5152117" y="4018038"/>
                <a:ext cx="1887768" cy="1887641"/>
              </a:xfrm>
              <a:custGeom>
                <a:avLst/>
                <a:gdLst>
                  <a:gd name="T0" fmla="*/ 1887797 w 19679"/>
                  <a:gd name="T1" fmla="*/ 1887767 h 20595"/>
                  <a:gd name="T2" fmla="*/ 1887797 w 19679"/>
                  <a:gd name="T3" fmla="*/ 1887767 h 20595"/>
                  <a:gd name="T4" fmla="*/ 1887797 w 19679"/>
                  <a:gd name="T5" fmla="*/ 1887767 h 20595"/>
                  <a:gd name="T6" fmla="*/ 1887797 w 19679"/>
                  <a:gd name="T7" fmla="*/ 1887767 h 20595"/>
                  <a:gd name="T8" fmla="*/ 0 60000 65536"/>
                  <a:gd name="T9" fmla="*/ 5898240 60000 65536"/>
                  <a:gd name="T10" fmla="*/ 11796480 60000 65536"/>
                  <a:gd name="T11" fmla="*/ 1769472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679" h="20595" extrusionOk="0">
                    <a:moveTo>
                      <a:pt x="9840" y="0"/>
                    </a:moveTo>
                    <a:cubicBezTo>
                      <a:pt x="7322" y="0"/>
                      <a:pt x="4803" y="1005"/>
                      <a:pt x="2881" y="3016"/>
                    </a:cubicBezTo>
                    <a:cubicBezTo>
                      <a:pt x="-961" y="7037"/>
                      <a:pt x="-961" y="13557"/>
                      <a:pt x="2881" y="17579"/>
                    </a:cubicBezTo>
                    <a:cubicBezTo>
                      <a:pt x="6724" y="21600"/>
                      <a:pt x="12954" y="21600"/>
                      <a:pt x="16797" y="17579"/>
                    </a:cubicBezTo>
                    <a:cubicBezTo>
                      <a:pt x="20639" y="13557"/>
                      <a:pt x="20639" y="7037"/>
                      <a:pt x="16797" y="3016"/>
                    </a:cubicBezTo>
                    <a:cubicBezTo>
                      <a:pt x="14875" y="1005"/>
                      <a:pt x="12358" y="0"/>
                      <a:pt x="9840" y="0"/>
                    </a:cubicBezTo>
                    <a:close/>
                    <a:moveTo>
                      <a:pt x="9840" y="784"/>
                    </a:moveTo>
                    <a:cubicBezTo>
                      <a:pt x="12166" y="784"/>
                      <a:pt x="14492" y="1712"/>
                      <a:pt x="16267" y="3570"/>
                    </a:cubicBezTo>
                    <a:cubicBezTo>
                      <a:pt x="18047" y="5433"/>
                      <a:pt x="18935" y="7876"/>
                      <a:pt x="18929" y="10318"/>
                    </a:cubicBezTo>
                    <a:lnTo>
                      <a:pt x="749" y="10318"/>
                    </a:lnTo>
                    <a:cubicBezTo>
                      <a:pt x="743" y="7876"/>
                      <a:pt x="1631" y="5433"/>
                      <a:pt x="3411" y="3570"/>
                    </a:cubicBezTo>
                    <a:cubicBezTo>
                      <a:pt x="5186" y="1712"/>
                      <a:pt x="7514" y="784"/>
                      <a:pt x="9840" y="78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41275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000">
                  <a:solidFill>
                    <a:srgbClr val="252D30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8" name="椭圆 27"/>
              <p:cNvSpPr/>
              <p:nvPr/>
            </p:nvSpPr>
            <p:spPr bwMode="auto">
              <a:xfrm flipH="1">
                <a:off x="6019769" y="3701963"/>
                <a:ext cx="152464" cy="152456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  <a:miter lim="400000"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4127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160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0" name="文本框 29"/>
              <p:cNvSpPr txBox="1"/>
              <p:nvPr/>
            </p:nvSpPr>
            <p:spPr bwMode="auto">
              <a:xfrm>
                <a:off x="5434903" y="4422243"/>
                <a:ext cx="1322196" cy="325672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2000" b="1" dirty="0">
                    <a:solidFill>
                      <a:srgbClr val="3F82C4"/>
                    </a:solidFill>
                    <a:cs typeface="+mn-ea"/>
                    <a:sym typeface="+mn-lt"/>
                  </a:rPr>
                  <a:t>电脑落子</a:t>
                </a:r>
                <a:endParaRPr lang="en-US" altLang="zh-CN" sz="2000" b="1" dirty="0">
                  <a:solidFill>
                    <a:srgbClr val="3F82C4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15" name="组合 14"/>
            <p:cNvGrpSpPr/>
            <p:nvPr/>
          </p:nvGrpSpPr>
          <p:grpSpPr>
            <a:xfrm>
              <a:off x="7328127" y="3701963"/>
              <a:ext cx="1887768" cy="2233566"/>
              <a:chOff x="7328127" y="3701963"/>
              <a:chExt cx="1887768" cy="2233566"/>
            </a:xfrm>
          </p:grpSpPr>
          <p:sp>
            <p:nvSpPr>
              <p:cNvPr id="22" name="任意多边形: 形状 21"/>
              <p:cNvSpPr/>
              <p:nvPr/>
            </p:nvSpPr>
            <p:spPr bwMode="auto">
              <a:xfrm>
                <a:off x="7328127" y="4047888"/>
                <a:ext cx="1887768" cy="1887641"/>
              </a:xfrm>
              <a:custGeom>
                <a:avLst/>
                <a:gdLst>
                  <a:gd name="T0" fmla="*/ 1887797 w 19679"/>
                  <a:gd name="T1" fmla="*/ 1887767 h 20595"/>
                  <a:gd name="T2" fmla="*/ 1887797 w 19679"/>
                  <a:gd name="T3" fmla="*/ 1887767 h 20595"/>
                  <a:gd name="T4" fmla="*/ 1887797 w 19679"/>
                  <a:gd name="T5" fmla="*/ 1887767 h 20595"/>
                  <a:gd name="T6" fmla="*/ 1887797 w 19679"/>
                  <a:gd name="T7" fmla="*/ 1887767 h 20595"/>
                  <a:gd name="T8" fmla="*/ 0 60000 65536"/>
                  <a:gd name="T9" fmla="*/ 5898240 60000 65536"/>
                  <a:gd name="T10" fmla="*/ 11796480 60000 65536"/>
                  <a:gd name="T11" fmla="*/ 1769472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679" h="20595" extrusionOk="0">
                    <a:moveTo>
                      <a:pt x="9840" y="0"/>
                    </a:moveTo>
                    <a:cubicBezTo>
                      <a:pt x="7322" y="0"/>
                      <a:pt x="4803" y="1005"/>
                      <a:pt x="2881" y="3016"/>
                    </a:cubicBezTo>
                    <a:cubicBezTo>
                      <a:pt x="-961" y="7037"/>
                      <a:pt x="-961" y="13557"/>
                      <a:pt x="2881" y="17579"/>
                    </a:cubicBezTo>
                    <a:cubicBezTo>
                      <a:pt x="6724" y="21600"/>
                      <a:pt x="12954" y="21600"/>
                      <a:pt x="16797" y="17579"/>
                    </a:cubicBezTo>
                    <a:cubicBezTo>
                      <a:pt x="20639" y="13557"/>
                      <a:pt x="20639" y="7037"/>
                      <a:pt x="16797" y="3016"/>
                    </a:cubicBezTo>
                    <a:cubicBezTo>
                      <a:pt x="14875" y="1005"/>
                      <a:pt x="12358" y="0"/>
                      <a:pt x="9840" y="0"/>
                    </a:cubicBezTo>
                    <a:close/>
                    <a:moveTo>
                      <a:pt x="9840" y="784"/>
                    </a:moveTo>
                    <a:cubicBezTo>
                      <a:pt x="12166" y="784"/>
                      <a:pt x="14492" y="1712"/>
                      <a:pt x="16267" y="3570"/>
                    </a:cubicBezTo>
                    <a:cubicBezTo>
                      <a:pt x="18047" y="5433"/>
                      <a:pt x="18935" y="7876"/>
                      <a:pt x="18929" y="10318"/>
                    </a:cubicBezTo>
                    <a:lnTo>
                      <a:pt x="749" y="10318"/>
                    </a:lnTo>
                    <a:cubicBezTo>
                      <a:pt x="743" y="7876"/>
                      <a:pt x="1631" y="5433"/>
                      <a:pt x="3411" y="3570"/>
                    </a:cubicBezTo>
                    <a:cubicBezTo>
                      <a:pt x="5186" y="1712"/>
                      <a:pt x="7514" y="784"/>
                      <a:pt x="9840" y="784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41275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000">
                  <a:solidFill>
                    <a:srgbClr val="252D30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3" name="椭圆 22"/>
              <p:cNvSpPr/>
              <p:nvPr/>
            </p:nvSpPr>
            <p:spPr bwMode="auto">
              <a:xfrm flipH="1">
                <a:off x="8187694" y="3701963"/>
                <a:ext cx="152464" cy="152456"/>
              </a:xfrm>
              <a:prstGeom prst="ellipse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  <a:miter lim="400000"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4127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160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5" name="文本框 24"/>
              <p:cNvSpPr txBox="1"/>
              <p:nvPr/>
            </p:nvSpPr>
            <p:spPr bwMode="auto">
              <a:xfrm>
                <a:off x="7610913" y="4422243"/>
                <a:ext cx="1322196" cy="325672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2000" b="1" dirty="0">
                    <a:solidFill>
                      <a:srgbClr val="3F82C4"/>
                    </a:solidFill>
                    <a:cs typeface="+mn-ea"/>
                    <a:sym typeface="+mn-lt"/>
                  </a:rPr>
                  <a:t>判断输赢</a:t>
                </a:r>
                <a:endParaRPr lang="en-US" altLang="zh-CN" sz="2000" b="1" dirty="0">
                  <a:solidFill>
                    <a:srgbClr val="3F82C4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9487970" y="3701963"/>
              <a:ext cx="1887768" cy="2203716"/>
              <a:chOff x="9487970" y="3701963"/>
              <a:chExt cx="1887768" cy="2203716"/>
            </a:xfrm>
          </p:grpSpPr>
          <p:sp>
            <p:nvSpPr>
              <p:cNvPr id="17" name="任意多边形: 形状 16"/>
              <p:cNvSpPr/>
              <p:nvPr/>
            </p:nvSpPr>
            <p:spPr bwMode="auto">
              <a:xfrm>
                <a:off x="9487970" y="4018038"/>
                <a:ext cx="1887768" cy="1887641"/>
              </a:xfrm>
              <a:custGeom>
                <a:avLst/>
                <a:gdLst>
                  <a:gd name="T0" fmla="*/ 1887797 w 19679"/>
                  <a:gd name="T1" fmla="*/ 1887767 h 20595"/>
                  <a:gd name="T2" fmla="*/ 1887797 w 19679"/>
                  <a:gd name="T3" fmla="*/ 1887767 h 20595"/>
                  <a:gd name="T4" fmla="*/ 1887797 w 19679"/>
                  <a:gd name="T5" fmla="*/ 1887767 h 20595"/>
                  <a:gd name="T6" fmla="*/ 1887797 w 19679"/>
                  <a:gd name="T7" fmla="*/ 1887767 h 20595"/>
                  <a:gd name="T8" fmla="*/ 0 60000 65536"/>
                  <a:gd name="T9" fmla="*/ 5898240 60000 65536"/>
                  <a:gd name="T10" fmla="*/ 11796480 60000 65536"/>
                  <a:gd name="T11" fmla="*/ 1769472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679" h="20595" extrusionOk="0">
                    <a:moveTo>
                      <a:pt x="9840" y="0"/>
                    </a:moveTo>
                    <a:cubicBezTo>
                      <a:pt x="7322" y="0"/>
                      <a:pt x="4803" y="1005"/>
                      <a:pt x="2881" y="3016"/>
                    </a:cubicBezTo>
                    <a:cubicBezTo>
                      <a:pt x="-961" y="7037"/>
                      <a:pt x="-961" y="13557"/>
                      <a:pt x="2881" y="17579"/>
                    </a:cubicBezTo>
                    <a:cubicBezTo>
                      <a:pt x="6724" y="21600"/>
                      <a:pt x="12954" y="21600"/>
                      <a:pt x="16797" y="17579"/>
                    </a:cubicBezTo>
                    <a:cubicBezTo>
                      <a:pt x="20639" y="13557"/>
                      <a:pt x="20639" y="7037"/>
                      <a:pt x="16797" y="3016"/>
                    </a:cubicBezTo>
                    <a:cubicBezTo>
                      <a:pt x="14875" y="1005"/>
                      <a:pt x="12358" y="0"/>
                      <a:pt x="9840" y="0"/>
                    </a:cubicBezTo>
                    <a:close/>
                    <a:moveTo>
                      <a:pt x="9840" y="784"/>
                    </a:moveTo>
                    <a:cubicBezTo>
                      <a:pt x="12166" y="784"/>
                      <a:pt x="14492" y="1712"/>
                      <a:pt x="16267" y="3570"/>
                    </a:cubicBezTo>
                    <a:cubicBezTo>
                      <a:pt x="18047" y="5433"/>
                      <a:pt x="18935" y="7876"/>
                      <a:pt x="18929" y="10318"/>
                    </a:cubicBezTo>
                    <a:lnTo>
                      <a:pt x="749" y="10318"/>
                    </a:lnTo>
                    <a:cubicBezTo>
                      <a:pt x="743" y="7876"/>
                      <a:pt x="1631" y="5433"/>
                      <a:pt x="3411" y="3570"/>
                    </a:cubicBezTo>
                    <a:cubicBezTo>
                      <a:pt x="5186" y="1712"/>
                      <a:pt x="7514" y="784"/>
                      <a:pt x="9840" y="784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41275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000">
                  <a:solidFill>
                    <a:srgbClr val="252D30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8" name="椭圆 17"/>
              <p:cNvSpPr/>
              <p:nvPr/>
            </p:nvSpPr>
            <p:spPr bwMode="auto">
              <a:xfrm flipH="1">
                <a:off x="10355622" y="3701963"/>
                <a:ext cx="152464" cy="152456"/>
              </a:xfrm>
              <a:prstGeom prst="ellipse">
                <a:avLst/>
              </a:prstGeom>
              <a:solidFill>
                <a:schemeClr val="accent2"/>
              </a:solidFill>
              <a:ln w="19050">
                <a:solidFill>
                  <a:schemeClr val="bg1"/>
                </a:solidFill>
                <a:miter lim="400000"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41275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160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0" name="文本框 19"/>
              <p:cNvSpPr txBox="1"/>
              <p:nvPr/>
            </p:nvSpPr>
            <p:spPr bwMode="auto">
              <a:xfrm>
                <a:off x="9770756" y="4422243"/>
                <a:ext cx="1322196" cy="325672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2000" b="1" dirty="0">
                    <a:solidFill>
                      <a:srgbClr val="3F82C4"/>
                    </a:solidFill>
                    <a:cs typeface="+mn-ea"/>
                    <a:sym typeface="+mn-lt"/>
                  </a:rPr>
                  <a:t>一些优化</a:t>
                </a:r>
                <a:endParaRPr lang="en-US" altLang="zh-CN" sz="2000" b="1" dirty="0">
                  <a:solidFill>
                    <a:srgbClr val="3F82C4"/>
                  </a:solidFill>
                  <a:cs typeface="+mn-ea"/>
                  <a:sym typeface="+mn-lt"/>
                </a:endParaRPr>
              </a:p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2000" b="1" dirty="0">
                    <a:solidFill>
                      <a:srgbClr val="3F82C4"/>
                    </a:solidFill>
                    <a:cs typeface="+mn-ea"/>
                    <a:sym typeface="+mn-lt"/>
                  </a:rPr>
                  <a:t>和补充</a:t>
                </a:r>
                <a:endParaRPr lang="en-US" altLang="zh-CN" sz="2000" b="1" dirty="0">
                  <a:solidFill>
                    <a:srgbClr val="3F82C4"/>
                  </a:solidFill>
                  <a:cs typeface="+mn-ea"/>
                  <a:sym typeface="+mn-lt"/>
                </a:endParaRPr>
              </a:p>
            </p:txBody>
          </p:sp>
        </p:grpSp>
      </p:grpSp>
      <p:sp>
        <p:nvSpPr>
          <p:cNvPr id="42" name="文本框 41">
            <a:extLst>
              <a:ext uri="{FF2B5EF4-FFF2-40B4-BE49-F238E27FC236}">
                <a16:creationId xmlns:a16="http://schemas.microsoft.com/office/drawing/2014/main" id="{507AEA48-1B8A-BDC0-5E90-2F62424D2A1F}"/>
              </a:ext>
            </a:extLst>
          </p:cNvPr>
          <p:cNvSpPr txBox="1"/>
          <p:nvPr/>
        </p:nvSpPr>
        <p:spPr>
          <a:xfrm>
            <a:off x="638539" y="112562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0</a:t>
            </a:r>
            <a:r>
              <a:rPr lang="en-US" spc="100" dirty="0">
                <a:solidFill>
                  <a:schemeClr val="accent1"/>
                </a:solidFill>
                <a:cs typeface="+mn-ea"/>
                <a:sym typeface="+mn-lt"/>
              </a:rPr>
              <a:t>2</a:t>
            </a: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811A635B-2BAC-47FA-9BE7-78E0EE58BBFE}"/>
              </a:ext>
            </a:extLst>
          </p:cNvPr>
          <p:cNvSpPr txBox="1"/>
          <p:nvPr/>
        </p:nvSpPr>
        <p:spPr>
          <a:xfrm>
            <a:off x="1778370" y="1053490"/>
            <a:ext cx="17414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400" b="1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算法分析</a:t>
            </a:r>
            <a:endParaRPr lang="en-US" altLang="zh-CN" sz="2400" b="1" dirty="0">
              <a:solidFill>
                <a:srgbClr val="3F82C4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algn="ctr"/>
            <a:r>
              <a:rPr lang="en-US" altLang="zh-CN" sz="2400" b="1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&amp;</a:t>
            </a:r>
          </a:p>
          <a:p>
            <a:pPr algn="ctr"/>
            <a:r>
              <a:rPr lang="zh-CN" altLang="en-US" sz="2400" b="1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概要设计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427127" y="269981"/>
            <a:ext cx="5419185" cy="424732"/>
          </a:xfrm>
        </p:spPr>
        <p:txBody>
          <a:bodyPr>
            <a:spAutoFit/>
          </a:bodyPr>
          <a:lstStyle/>
          <a:p>
            <a:r>
              <a:rPr lang="en-US" altLang="zh-CN" dirty="0">
                <a:solidFill>
                  <a:srgbClr val="3F82C4"/>
                </a:solidFill>
                <a:latin typeface="+mn-lt"/>
                <a:ea typeface="+mn-ea"/>
                <a:cs typeface="+mn-ea"/>
                <a:sym typeface="+mn-lt"/>
              </a:rPr>
              <a:t>2.1 </a:t>
            </a:r>
            <a:r>
              <a:rPr lang="zh-CN" altLang="en-US" dirty="0">
                <a:solidFill>
                  <a:srgbClr val="3F82C4"/>
                </a:solidFill>
                <a:latin typeface="+mn-lt"/>
                <a:ea typeface="+mn-ea"/>
                <a:cs typeface="+mn-ea"/>
                <a:sym typeface="+mn-lt"/>
              </a:rPr>
              <a:t>绘制棋盘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606605" y="776801"/>
            <a:ext cx="5419185" cy="1511952"/>
          </a:xfrm>
        </p:spPr>
        <p:txBody>
          <a:bodyPr>
            <a:spAutoFit/>
          </a:bodyPr>
          <a:lstStyle/>
          <a:p>
            <a:pPr marL="0" marR="0" algn="just">
              <a:spcBef>
                <a:spcPts val="0"/>
              </a:spcBef>
              <a:spcAft>
                <a:spcPts val="0"/>
              </a:spcAft>
            </a:pP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创建合适大小的窗口并调整背景为棕色，利用</a:t>
            </a:r>
            <a:r>
              <a:rPr lang="en-US" altLang="zh-CN" sz="1600" kern="100" dirty="0" err="1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raylib</a:t>
            </a: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中的</a:t>
            </a:r>
            <a:r>
              <a:rPr lang="en-US" altLang="zh-CN" sz="1600" kern="100" dirty="0" err="1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DrawLine</a:t>
            </a: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函数横竖都画出</a:t>
            </a:r>
            <a:r>
              <a:rPr lang="en-US" altLang="zh-CN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15</a:t>
            </a: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根等间距的黑线，在（</a:t>
            </a:r>
            <a:r>
              <a:rPr lang="en-US" altLang="zh-CN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4</a:t>
            </a: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，</a:t>
            </a:r>
            <a:r>
              <a:rPr lang="en-US" altLang="zh-CN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4</a:t>
            </a: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）、（</a:t>
            </a:r>
            <a:r>
              <a:rPr lang="en-US" altLang="zh-CN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12</a:t>
            </a: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，</a:t>
            </a:r>
            <a:r>
              <a:rPr lang="en-US" altLang="zh-CN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4</a:t>
            </a: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）、（</a:t>
            </a:r>
            <a:r>
              <a:rPr lang="en-US" altLang="zh-CN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4</a:t>
            </a: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，</a:t>
            </a:r>
            <a:r>
              <a:rPr lang="en-US" altLang="zh-CN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12</a:t>
            </a: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）、（</a:t>
            </a:r>
            <a:r>
              <a:rPr lang="en-US" altLang="zh-CN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12</a:t>
            </a: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，</a:t>
            </a:r>
            <a:r>
              <a:rPr lang="en-US" altLang="zh-CN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12</a:t>
            </a: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）及（</a:t>
            </a:r>
            <a:r>
              <a:rPr lang="en-US" altLang="zh-CN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8</a:t>
            </a: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，</a:t>
            </a:r>
            <a:r>
              <a:rPr lang="en-US" altLang="zh-CN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8</a:t>
            </a: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）处用</a:t>
            </a:r>
            <a:r>
              <a:rPr lang="en-US" altLang="zh-CN" sz="1600" kern="100" dirty="0" err="1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DrawCircle</a:t>
            </a: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画用黑色填充的小圆，棋盘绘制完毕，如图</a:t>
            </a:r>
            <a:r>
              <a:rPr lang="en-US" altLang="zh-CN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1-1</a:t>
            </a:r>
            <a:endParaRPr lang="zh-CN" altLang="en-US" sz="1600" kern="100" dirty="0">
              <a:effectLst/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0217E130-9A06-D58E-2C53-C0BA411FE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5790" y="105481"/>
            <a:ext cx="5844802" cy="2183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D250CBBA-0552-5925-2E27-6FB6DD641A0C}"/>
              </a:ext>
            </a:extLst>
          </p:cNvPr>
          <p:cNvSpPr txBox="1"/>
          <p:nvPr/>
        </p:nvSpPr>
        <p:spPr>
          <a:xfrm>
            <a:off x="427127" y="2403835"/>
            <a:ext cx="49958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>
                <a:solidFill>
                  <a:srgbClr val="3F82C4"/>
                </a:solidFill>
              </a:rPr>
              <a:t>2.2 </a:t>
            </a:r>
            <a:r>
              <a:rPr lang="zh-CN" altLang="en-US" sz="2400" b="1" dirty="0">
                <a:solidFill>
                  <a:srgbClr val="3F82C4"/>
                </a:solidFill>
              </a:rPr>
              <a:t>玩家落子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F2347F01-E38B-445B-54D3-F0CBF9042BE9}"/>
              </a:ext>
            </a:extLst>
          </p:cNvPr>
          <p:cNvSpPr txBox="1"/>
          <p:nvPr/>
        </p:nvSpPr>
        <p:spPr>
          <a:xfrm>
            <a:off x="606605" y="3004024"/>
            <a:ext cx="5419185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实现落子：创立一个二维数组</a:t>
            </a:r>
            <a:r>
              <a:rPr lang="en-US" altLang="zh-CN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map</a:t>
            </a: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（</a:t>
            </a:r>
            <a:r>
              <a:rPr lang="en-US" altLang="zh-CN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17</a:t>
            </a: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行</a:t>
            </a:r>
            <a:r>
              <a:rPr lang="en-US" altLang="zh-CN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17</a:t>
            </a: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列，目的是能够只使用</a:t>
            </a:r>
            <a:r>
              <a:rPr lang="en-US" altLang="zh-CN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1-15</a:t>
            </a: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这十五个数字，便于直观分析理解，并且解决了越界问题），对其初始化，当其中元素为</a:t>
            </a:r>
            <a:r>
              <a:rPr lang="en-US" altLang="zh-CN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0</a:t>
            </a: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时，代表此处未落子，</a:t>
            </a:r>
            <a:r>
              <a:rPr lang="en-US" altLang="zh-CN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1</a:t>
            </a: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代表此处落黑子（玩家落子），</a:t>
            </a:r>
            <a:r>
              <a:rPr lang="en-US" altLang="zh-CN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-1</a:t>
            </a: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则代表此处落白子（电脑落子）。每一次循环中，在</a:t>
            </a:r>
            <a:r>
              <a:rPr lang="en-US" altLang="zh-CN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1</a:t>
            </a: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和</a:t>
            </a:r>
            <a:r>
              <a:rPr lang="en-US" altLang="zh-CN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-1</a:t>
            </a: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的位置用</a:t>
            </a:r>
            <a:r>
              <a:rPr lang="en-US" altLang="zh-CN" sz="1600" kern="100" dirty="0" err="1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DrawCircle</a:t>
            </a: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画出对应的、大小合适的“黑圆”或“白圆”，如图</a:t>
            </a:r>
            <a:r>
              <a:rPr lang="en-US" altLang="zh-CN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1-2</a:t>
            </a: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、图</a:t>
            </a:r>
            <a:r>
              <a:rPr lang="en-US" altLang="zh-CN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1-3</a:t>
            </a:r>
          </a:p>
          <a:p>
            <a:endParaRPr lang="zh-CN" altLang="en-US" sz="1600" kern="100" dirty="0">
              <a:effectLst/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endParaRPr lang="zh-CN" altLang="en-US" dirty="0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AE5C406B-14C0-91D5-8FBF-91524D00A3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3189" y="2377601"/>
            <a:ext cx="527685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38C10F23-A386-1C97-AC90-41DFB9E7B6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0959" y="3076049"/>
            <a:ext cx="5331667" cy="2767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4CBEA488-7584-241F-6257-F36DDD5D6534}"/>
              </a:ext>
            </a:extLst>
          </p:cNvPr>
          <p:cNvSpPr txBox="1"/>
          <p:nvPr/>
        </p:nvSpPr>
        <p:spPr>
          <a:xfrm>
            <a:off x="571436" y="4850683"/>
            <a:ext cx="5274876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kern="100" dirty="0">
                <a:solidFill>
                  <a:srgbClr val="00206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实现玩家点击左键落子功能：当玩家单击鼠标左键时，获取鼠标位置，将鼠标位置与棋盘位置模糊对应，即当鼠标没有恰好在对应的精确位置时，判定玩家落在了离鼠标最近的合法位置，将该合法位置在</a:t>
            </a:r>
            <a:r>
              <a:rPr lang="en-US" altLang="zh-CN" sz="1600" kern="100" dirty="0">
                <a:solidFill>
                  <a:srgbClr val="00206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map</a:t>
            </a:r>
            <a:r>
              <a:rPr lang="zh-CN" altLang="en-US" sz="1600" kern="100" dirty="0">
                <a:solidFill>
                  <a:srgbClr val="00206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数组中对应的元素更新为</a:t>
            </a:r>
            <a:r>
              <a:rPr lang="en-US" altLang="zh-CN" sz="1600" kern="100" dirty="0">
                <a:solidFill>
                  <a:srgbClr val="00206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1</a:t>
            </a:r>
            <a:endParaRPr lang="zh-CN" altLang="en-US" sz="1600" kern="100" dirty="0">
              <a:solidFill>
                <a:srgbClr val="002060"/>
              </a:solidFill>
              <a:effectLst/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endParaRPr lang="zh-CN" altLang="en-US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CCC29759-53C5-A672-8DE8-C96F8836CFCC}"/>
              </a:ext>
            </a:extLst>
          </p:cNvPr>
          <p:cNvSpPr txBox="1"/>
          <p:nvPr/>
        </p:nvSpPr>
        <p:spPr>
          <a:xfrm>
            <a:off x="8101659" y="2203169"/>
            <a:ext cx="16930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图</a:t>
            </a:r>
            <a:r>
              <a:rPr lang="en-US" altLang="zh-CN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1-1 </a:t>
            </a:r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绘制棋盘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3ADF7743-3F2C-CF99-82EA-7ACEC080E0F8}"/>
              </a:ext>
            </a:extLst>
          </p:cNvPr>
          <p:cNvSpPr txBox="1"/>
          <p:nvPr/>
        </p:nvSpPr>
        <p:spPr>
          <a:xfrm>
            <a:off x="7636175" y="2513124"/>
            <a:ext cx="16930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图</a:t>
            </a:r>
            <a:r>
              <a:rPr lang="en-US" altLang="zh-CN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1-2 </a:t>
            </a:r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落子数组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374F4627-8727-8E9C-0715-38FD4B9580EE}"/>
              </a:ext>
            </a:extLst>
          </p:cNvPr>
          <p:cNvSpPr txBox="1"/>
          <p:nvPr/>
        </p:nvSpPr>
        <p:spPr>
          <a:xfrm>
            <a:off x="7126685" y="5843116"/>
            <a:ext cx="17446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图</a:t>
            </a:r>
            <a:r>
              <a:rPr lang="en-US" altLang="zh-CN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1-3 </a:t>
            </a:r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实现落子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3" grpId="0"/>
      <p:bldP spid="4" grpId="0"/>
      <p:bldP spid="7" grpId="0"/>
      <p:bldP spid="8" grpId="0"/>
      <p:bldP spid="10" grpId="0"/>
      <p:bldP spid="1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427127" y="474083"/>
            <a:ext cx="5419185" cy="424732"/>
          </a:xfrm>
        </p:spPr>
        <p:txBody>
          <a:bodyPr>
            <a:spAutoFit/>
          </a:bodyPr>
          <a:lstStyle/>
          <a:p>
            <a:r>
              <a:rPr lang="en-US" altLang="zh-CN" dirty="0">
                <a:solidFill>
                  <a:srgbClr val="3F82C4"/>
                </a:solidFill>
                <a:latin typeface="+mn-lt"/>
                <a:ea typeface="+mn-ea"/>
                <a:cs typeface="+mn-ea"/>
                <a:sym typeface="+mn-lt"/>
              </a:rPr>
              <a:t>2.3 </a:t>
            </a:r>
            <a:r>
              <a:rPr lang="zh-CN" altLang="en-US" dirty="0">
                <a:solidFill>
                  <a:srgbClr val="3F82C4"/>
                </a:solidFill>
                <a:latin typeface="+mn-lt"/>
                <a:ea typeface="+mn-ea"/>
                <a:cs typeface="+mn-ea"/>
                <a:sym typeface="+mn-lt"/>
              </a:rPr>
              <a:t>电脑落子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606605" y="986025"/>
            <a:ext cx="5335604" cy="832279"/>
          </a:xfrm>
        </p:spPr>
        <p:txBody>
          <a:bodyPr wrap="square">
            <a:spAutoFit/>
          </a:bodyPr>
          <a:lstStyle/>
          <a:p>
            <a:pPr marR="0" lvl="0" algn="just">
              <a:lnSpc>
                <a:spcPts val="2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实现电脑落子：使用估值函数给未落子的每个位置评分，最终选取分数最大的位置，将该位置在</a:t>
            </a:r>
            <a:r>
              <a:rPr lang="en-US" altLang="zh-CN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map</a:t>
            </a: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数组中对应的元素更新为</a:t>
            </a:r>
            <a:r>
              <a:rPr lang="en-US" altLang="zh-CN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-1</a:t>
            </a: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（</a:t>
            </a:r>
            <a:r>
              <a:rPr lang="zh-CN" altLang="en-US" sz="1600" kern="100" dirty="0">
                <a:latin typeface="楷体" panose="02010609060101010101" pitchFamily="49" charset="-122"/>
                <a:ea typeface="楷体" panose="02010609060101010101" pitchFamily="49" charset="-122"/>
              </a:rPr>
              <a:t>在后续会详细介绍）</a:t>
            </a:r>
            <a:endParaRPr lang="zh-CN" altLang="en-US" sz="1600" kern="100" dirty="0">
              <a:effectLst/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D250CBBA-0552-5925-2E27-6FB6DD641A0C}"/>
              </a:ext>
            </a:extLst>
          </p:cNvPr>
          <p:cNvSpPr txBox="1"/>
          <p:nvPr/>
        </p:nvSpPr>
        <p:spPr>
          <a:xfrm>
            <a:off x="427127" y="2024332"/>
            <a:ext cx="49958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>
                <a:solidFill>
                  <a:srgbClr val="3F82C4"/>
                </a:solidFill>
              </a:rPr>
              <a:t>2.4 </a:t>
            </a:r>
            <a:r>
              <a:rPr lang="zh-CN" altLang="en-US" sz="2400" b="1" dirty="0">
                <a:solidFill>
                  <a:srgbClr val="3F82C4"/>
                </a:solidFill>
              </a:rPr>
              <a:t>判断游戏是否结束</a:t>
            </a:r>
            <a:r>
              <a:rPr lang="en-US" altLang="zh-CN" sz="2400" b="1" dirty="0">
                <a:solidFill>
                  <a:srgbClr val="3F82C4"/>
                </a:solidFill>
              </a:rPr>
              <a:t>&amp;</a:t>
            </a:r>
            <a:r>
              <a:rPr lang="zh-CN" altLang="en-US" sz="2400" b="1" dirty="0">
                <a:solidFill>
                  <a:srgbClr val="3F82C4"/>
                </a:solidFill>
              </a:rPr>
              <a:t>输赢情况</a:t>
            </a:r>
            <a:endParaRPr lang="en-US" altLang="zh-CN" sz="2400" b="1" dirty="0">
              <a:solidFill>
                <a:srgbClr val="3F82C4"/>
              </a:solidFill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F2347F01-E38B-445B-54D3-F0CBF9042BE9}"/>
              </a:ext>
            </a:extLst>
          </p:cNvPr>
          <p:cNvSpPr txBox="1"/>
          <p:nvPr/>
        </p:nvSpPr>
        <p:spPr>
          <a:xfrm>
            <a:off x="606605" y="2578485"/>
            <a:ext cx="541918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algn="just">
              <a:spcBef>
                <a:spcPts val="0"/>
              </a:spcBef>
              <a:spcAft>
                <a:spcPts val="0"/>
              </a:spcAft>
            </a:pP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判断游戏是否结束：分为三种情况，玩家赢、电脑赢和平局，对每一个点，都遍历所有方向，若连成了五个同色的棋子，则所对应的这一方胜利，若棋盘被填满但还未出现五子连珠的情况，判定为平局。当判定游戏结束时，输出获胜</a:t>
            </a:r>
            <a:r>
              <a:rPr lang="en-US" altLang="zh-CN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/</a:t>
            </a: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失败</a:t>
            </a:r>
            <a:r>
              <a:rPr lang="en-US" altLang="zh-CN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/</a:t>
            </a: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平局的相应语句，部分代码如图</a:t>
            </a:r>
            <a:r>
              <a:rPr lang="en-US" altLang="zh-CN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1-4</a:t>
            </a: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、</a:t>
            </a:r>
            <a:r>
              <a:rPr lang="en-US" altLang="zh-CN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1-5</a:t>
            </a:r>
            <a:r>
              <a:rPr lang="zh-CN" altLang="en-US" sz="1600" kern="100" dirty="0"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所示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EFA7B205-A014-40C4-71B4-8F1490595E0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1865" y="310193"/>
            <a:ext cx="4934555" cy="3206729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717B8F6E-9ED1-5106-C743-349CC3A9067B}"/>
              </a:ext>
            </a:extLst>
          </p:cNvPr>
          <p:cNvSpPr txBox="1"/>
          <p:nvPr/>
        </p:nvSpPr>
        <p:spPr>
          <a:xfrm>
            <a:off x="7584857" y="3563370"/>
            <a:ext cx="24621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图</a:t>
            </a:r>
            <a:r>
              <a:rPr lang="en-US" altLang="zh-CN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1-4 </a:t>
            </a:r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部分判断输赢代码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584AC37B-6BC1-9616-6B14-4FD806DF988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05" y="3994412"/>
            <a:ext cx="5419185" cy="2255918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8D7AA312-6BF0-9DA6-893D-E82FBC4DE0ED}"/>
              </a:ext>
            </a:extLst>
          </p:cNvPr>
          <p:cNvSpPr txBox="1"/>
          <p:nvPr/>
        </p:nvSpPr>
        <p:spPr>
          <a:xfrm>
            <a:off x="6096000" y="5031134"/>
            <a:ext cx="1371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图</a:t>
            </a:r>
            <a:r>
              <a:rPr lang="en-US" altLang="zh-CN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1-5 </a:t>
            </a:r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平局</a:t>
            </a:r>
          </a:p>
        </p:txBody>
      </p:sp>
    </p:spTree>
    <p:extLst>
      <p:ext uri="{BB962C8B-B14F-4D97-AF65-F5344CB8AC3E}">
        <p14:creationId xmlns:p14="http://schemas.microsoft.com/office/powerpoint/2010/main" val="3674651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  <p:bldP spid="3" grpId="0"/>
      <p:bldP spid="4" grpId="0"/>
      <p:bldP spid="8" grpId="0"/>
      <p:bldP spid="1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427127" y="474083"/>
            <a:ext cx="5419185" cy="424732"/>
          </a:xfrm>
        </p:spPr>
        <p:txBody>
          <a:bodyPr>
            <a:spAutoFit/>
          </a:bodyPr>
          <a:lstStyle/>
          <a:p>
            <a:r>
              <a:rPr lang="en-US" altLang="zh-CN" dirty="0">
                <a:solidFill>
                  <a:srgbClr val="3F82C4"/>
                </a:solidFill>
                <a:latin typeface="+mn-lt"/>
                <a:ea typeface="+mn-ea"/>
                <a:cs typeface="+mn-ea"/>
                <a:sym typeface="+mn-lt"/>
              </a:rPr>
              <a:t>2.5 </a:t>
            </a:r>
            <a:r>
              <a:rPr lang="zh-CN" altLang="en-US" dirty="0">
                <a:solidFill>
                  <a:srgbClr val="3F82C4"/>
                </a:solidFill>
                <a:latin typeface="+mn-lt"/>
                <a:ea typeface="+mn-ea"/>
                <a:cs typeface="+mn-ea"/>
                <a:sym typeface="+mn-lt"/>
              </a:rPr>
              <a:t>优化及补充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CDFB997F-BDA3-0AD8-B376-AAD003230A43}"/>
              </a:ext>
            </a:extLst>
          </p:cNvPr>
          <p:cNvSpPr txBox="1"/>
          <p:nvPr/>
        </p:nvSpPr>
        <p:spPr>
          <a:xfrm>
            <a:off x="427127" y="1029385"/>
            <a:ext cx="23229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（</a:t>
            </a:r>
            <a:r>
              <a:rPr lang="en-US" altLang="zh-CN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1</a:t>
            </a:r>
            <a:r>
              <a:rPr lang="zh-CN" altLang="en-US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）红点标注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C5C64BA-217A-1903-922E-E192442637B8}"/>
              </a:ext>
            </a:extLst>
          </p:cNvPr>
          <p:cNvSpPr txBox="1"/>
          <p:nvPr/>
        </p:nvSpPr>
        <p:spPr>
          <a:xfrm>
            <a:off x="432806" y="1529287"/>
            <a:ext cx="463447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kern="100" dirty="0">
                <a:solidFill>
                  <a:srgbClr val="00206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利用二维数组</a:t>
            </a:r>
            <a:r>
              <a:rPr lang="en-US" altLang="zh-CN" sz="1800" kern="100" dirty="0">
                <a:solidFill>
                  <a:srgbClr val="00206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mark</a:t>
            </a:r>
            <a:r>
              <a:rPr lang="zh-CN" altLang="en-US" sz="1800" kern="100" dirty="0">
                <a:solidFill>
                  <a:srgbClr val="00206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，标记上一次玩家与上一次电脑的落子位置，在这两个位置画出大小合适的红色小圆，以防止棋盘上已有较多棋子时，玩家找不到上一步自己与电脑下在了哪里，从而优化玩家下棋体验，如图</a:t>
            </a:r>
            <a:r>
              <a:rPr lang="en-US" altLang="zh-CN" sz="1800" kern="100" dirty="0">
                <a:solidFill>
                  <a:srgbClr val="00206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1-6</a:t>
            </a:r>
            <a:r>
              <a:rPr lang="zh-CN" altLang="en-US" sz="1800" kern="100" dirty="0">
                <a:solidFill>
                  <a:srgbClr val="00206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、</a:t>
            </a:r>
            <a:r>
              <a:rPr lang="en-US" altLang="zh-CN" sz="1800" kern="100" dirty="0">
                <a:solidFill>
                  <a:srgbClr val="00206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1-7</a:t>
            </a:r>
            <a:endParaRPr lang="zh-CN" altLang="en-US" dirty="0">
              <a:solidFill>
                <a:srgbClr val="002060"/>
              </a:solidFill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B69FDB8-57E6-94B3-BB84-AE83A2FB21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7118" y="1277052"/>
            <a:ext cx="3488110" cy="1437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79F9B011-A5BF-8653-B0FF-58FD5C6BBA27}"/>
              </a:ext>
            </a:extLst>
          </p:cNvPr>
          <p:cNvSpPr txBox="1"/>
          <p:nvPr/>
        </p:nvSpPr>
        <p:spPr>
          <a:xfrm>
            <a:off x="5945286" y="2709126"/>
            <a:ext cx="164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图</a:t>
            </a:r>
            <a:r>
              <a:rPr lang="en-US" altLang="zh-CN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1-6 mark</a:t>
            </a:r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数组</a:t>
            </a:r>
            <a:endParaRPr lang="en-US" altLang="zh-CN" sz="1600" dirty="0">
              <a:solidFill>
                <a:srgbClr val="3F82C4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6B7A7D20-B8F4-83D8-AE7C-075A318FD6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6278" y="152981"/>
            <a:ext cx="3057088" cy="2981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B06E7DB2-9702-1EB2-727B-E090F8C897FB}"/>
              </a:ext>
            </a:extLst>
          </p:cNvPr>
          <p:cNvSpPr txBox="1"/>
          <p:nvPr/>
        </p:nvSpPr>
        <p:spPr>
          <a:xfrm>
            <a:off x="9337103" y="3134586"/>
            <a:ext cx="21063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图</a:t>
            </a:r>
            <a:r>
              <a:rPr lang="en-US" altLang="zh-CN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1-7 </a:t>
            </a:r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对弈过程实例</a:t>
            </a:r>
            <a:endParaRPr lang="en-US" altLang="zh-CN" sz="1600" dirty="0">
              <a:solidFill>
                <a:srgbClr val="3F82C4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403F9CE4-0F44-3A88-D9C8-FCA3C7E847CF}"/>
              </a:ext>
            </a:extLst>
          </p:cNvPr>
          <p:cNvSpPr txBox="1"/>
          <p:nvPr/>
        </p:nvSpPr>
        <p:spPr>
          <a:xfrm>
            <a:off x="427127" y="3663279"/>
            <a:ext cx="18515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（</a:t>
            </a:r>
            <a:r>
              <a:rPr lang="en-US" altLang="zh-CN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2</a:t>
            </a:r>
            <a:r>
              <a:rPr lang="zh-CN" altLang="en-US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）悔棋功能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DF63488A-9C07-7B2A-778F-A088F3F9720C}"/>
              </a:ext>
            </a:extLst>
          </p:cNvPr>
          <p:cNvSpPr txBox="1"/>
          <p:nvPr/>
        </p:nvSpPr>
        <p:spPr>
          <a:xfrm>
            <a:off x="427127" y="4168755"/>
            <a:ext cx="390749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kern="100" dirty="0">
                <a:solidFill>
                  <a:srgbClr val="00206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当玩家单击鼠标右键时，利用结构体、一维数组和指针完成的栈，撤回上一次玩家的落子和电脑的落子，部分代码如图</a:t>
            </a:r>
            <a:r>
              <a:rPr lang="en-US" altLang="zh-CN" kern="100" dirty="0">
                <a:solidFill>
                  <a:srgbClr val="00206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1-8</a:t>
            </a:r>
            <a:r>
              <a:rPr lang="zh-CN" altLang="en-US" kern="100" dirty="0">
                <a:solidFill>
                  <a:srgbClr val="00206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、</a:t>
            </a:r>
            <a:r>
              <a:rPr lang="en-US" altLang="zh-CN" kern="100" dirty="0">
                <a:solidFill>
                  <a:srgbClr val="002060"/>
                </a:solidFill>
                <a:effectLst/>
                <a:latin typeface="楷体" panose="02010609060101010101" pitchFamily="49" charset="-122"/>
                <a:ea typeface="楷体" panose="02010609060101010101" pitchFamily="49" charset="-122"/>
              </a:rPr>
              <a:t>1-9</a:t>
            </a:r>
            <a:endParaRPr lang="zh-CN" altLang="en-US" kern="100" dirty="0">
              <a:solidFill>
                <a:srgbClr val="002060"/>
              </a:solidFill>
              <a:effectLst/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endParaRPr lang="zh-CN" altLang="en-US" dirty="0"/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E61E9778-C249-5A81-DA22-EA51F6AA14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5335" y="3473140"/>
            <a:ext cx="3569112" cy="1877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42887F67-B94F-9082-6567-F5B3FACD56FF}"/>
              </a:ext>
            </a:extLst>
          </p:cNvPr>
          <p:cNvSpPr txBox="1"/>
          <p:nvPr/>
        </p:nvSpPr>
        <p:spPr>
          <a:xfrm>
            <a:off x="6144030" y="5476806"/>
            <a:ext cx="135172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图</a:t>
            </a:r>
            <a:r>
              <a:rPr lang="en-US" altLang="zh-CN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1-8 </a:t>
            </a:r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右键</a:t>
            </a:r>
          </a:p>
        </p:txBody>
      </p:sp>
      <p:pic>
        <p:nvPicPr>
          <p:cNvPr id="1032" name="Picture 8">
            <a:extLst>
              <a:ext uri="{FF2B5EF4-FFF2-40B4-BE49-F238E27FC236}">
                <a16:creationId xmlns:a16="http://schemas.microsoft.com/office/drawing/2014/main" id="{8F0DC536-24DA-E59B-FE1C-7C4F4F8C2D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2248" y="3473942"/>
            <a:ext cx="2047875" cy="2771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CF7C0291-02D9-D5C1-486A-508BDF3309DC}"/>
              </a:ext>
            </a:extLst>
          </p:cNvPr>
          <p:cNvSpPr txBox="1"/>
          <p:nvPr/>
        </p:nvSpPr>
        <p:spPr>
          <a:xfrm>
            <a:off x="8899736" y="6285468"/>
            <a:ext cx="19403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图</a:t>
            </a:r>
            <a:r>
              <a:rPr lang="en-US" altLang="zh-CN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1-9 </a:t>
            </a:r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进栈 出栈</a:t>
            </a:r>
          </a:p>
        </p:txBody>
      </p:sp>
    </p:spTree>
    <p:extLst>
      <p:ext uri="{BB962C8B-B14F-4D97-AF65-F5344CB8AC3E}">
        <p14:creationId xmlns:p14="http://schemas.microsoft.com/office/powerpoint/2010/main" val="23787018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  <p:bldP spid="4" grpId="0"/>
      <p:bldP spid="6" grpId="0"/>
      <p:bldP spid="7" grpId="0"/>
      <p:bldP spid="8" grpId="0"/>
      <p:bldP spid="1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427127" y="557183"/>
            <a:ext cx="5419185" cy="341632"/>
          </a:xfrm>
        </p:spPr>
        <p:txBody>
          <a:bodyPr>
            <a:spAutoFit/>
          </a:bodyPr>
          <a:lstStyle/>
          <a:p>
            <a:r>
              <a:rPr lang="zh-CN" altLang="en-US" sz="1800" b="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（</a:t>
            </a:r>
            <a:r>
              <a:rPr lang="en-US" altLang="zh-CN" sz="1800" b="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3</a:t>
            </a:r>
            <a:r>
              <a:rPr lang="zh-CN" altLang="en-US" sz="1800" b="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）解决呆板问题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606605" y="986025"/>
            <a:ext cx="5335604" cy="1858201"/>
          </a:xfrm>
        </p:spPr>
        <p:txBody>
          <a:bodyPr wrap="square">
            <a:spAutoFit/>
          </a:bodyPr>
          <a:lstStyle/>
          <a:p>
            <a:pPr lvl="0" algn="just">
              <a:lnSpc>
                <a:spcPts val="2000"/>
              </a:lnSpc>
            </a:pPr>
            <a:r>
              <a:rPr lang="zh-CN" altLang="en-US" sz="1600" kern="100" dirty="0">
                <a:latin typeface="楷体" panose="02010609060101010101" pitchFamily="49" charset="-122"/>
                <a:ea typeface="楷体" panose="02010609060101010101" pitchFamily="49" charset="-122"/>
              </a:rPr>
              <a:t>在玩家落下第一步后，以及某些极端的、恰好某些点位分数相等的情况下，利用</a:t>
            </a:r>
            <a:r>
              <a:rPr lang="en-US" altLang="zh-CN" sz="1600" kern="100" dirty="0">
                <a:latin typeface="楷体" panose="02010609060101010101" pitchFamily="49" charset="-122"/>
                <a:ea typeface="楷体" panose="02010609060101010101" pitchFamily="49" charset="-122"/>
              </a:rPr>
              <a:t>rand</a:t>
            </a:r>
            <a:r>
              <a:rPr lang="zh-CN" altLang="en-US" sz="1600" kern="100" dirty="0">
                <a:latin typeface="楷体" panose="02010609060101010101" pitchFamily="49" charset="-122"/>
                <a:ea typeface="楷体" panose="02010609060101010101" pitchFamily="49" charset="-122"/>
              </a:rPr>
              <a:t>来实现分数相同的点位中随机落子，同时，解决了玩家下很多局棋局相似的问题（若没有随机落子功能，当玩家做出与之前棋局一模一样的走法时，电脑也会选择跟之前一模一样的走法，这样会显得有些无聊而单调），从而优化玩家体验，提高乐趣，部分代码如图</a:t>
            </a:r>
            <a:r>
              <a:rPr lang="en-US" altLang="zh-CN" sz="1600" kern="100" dirty="0">
                <a:latin typeface="楷体" panose="02010609060101010101" pitchFamily="49" charset="-122"/>
                <a:ea typeface="楷体" panose="02010609060101010101" pitchFamily="49" charset="-122"/>
              </a:rPr>
              <a:t>1-10</a:t>
            </a:r>
            <a:r>
              <a:rPr lang="zh-CN" altLang="en-US" sz="1600" kern="100" dirty="0">
                <a:latin typeface="楷体" panose="02010609060101010101" pitchFamily="49" charset="-122"/>
                <a:ea typeface="楷体" panose="02010609060101010101" pitchFamily="49" charset="-122"/>
              </a:rPr>
              <a:t>、</a:t>
            </a:r>
            <a:r>
              <a:rPr lang="en-US" altLang="zh-CN" sz="1600" kern="100" dirty="0">
                <a:latin typeface="楷体" panose="02010609060101010101" pitchFamily="49" charset="-122"/>
                <a:ea typeface="楷体" panose="02010609060101010101" pitchFamily="49" charset="-122"/>
              </a:rPr>
              <a:t>1-11</a:t>
            </a:r>
            <a:r>
              <a:rPr lang="zh-CN" altLang="en-US" sz="1600" kern="100" dirty="0">
                <a:latin typeface="楷体" panose="02010609060101010101" pitchFamily="49" charset="-122"/>
                <a:ea typeface="楷体" panose="02010609060101010101" pitchFamily="49" charset="-122"/>
              </a:rPr>
              <a:t>。</a:t>
            </a:r>
            <a:endParaRPr lang="zh-CN" altLang="en-US" sz="1600" kern="100" dirty="0">
              <a:effectLst/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717B8F6E-9ED1-5106-C743-349CC3A9067B}"/>
              </a:ext>
            </a:extLst>
          </p:cNvPr>
          <p:cNvSpPr txBox="1"/>
          <p:nvPr/>
        </p:nvSpPr>
        <p:spPr>
          <a:xfrm>
            <a:off x="7823395" y="3399183"/>
            <a:ext cx="16727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图</a:t>
            </a:r>
            <a:r>
              <a:rPr lang="en-US" altLang="zh-CN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1-10 </a:t>
            </a:r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随机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8D7AA312-6BF0-9DA6-893D-E82FBC4DE0ED}"/>
              </a:ext>
            </a:extLst>
          </p:cNvPr>
          <p:cNvSpPr txBox="1"/>
          <p:nvPr/>
        </p:nvSpPr>
        <p:spPr>
          <a:xfrm>
            <a:off x="5942209" y="4113552"/>
            <a:ext cx="1371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图</a:t>
            </a:r>
            <a:r>
              <a:rPr lang="en-US" altLang="zh-CN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1-11 </a:t>
            </a:r>
            <a:r>
              <a:rPr lang="zh-CN" altLang="en-US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随机</a:t>
            </a:r>
            <a:r>
              <a:rPr lang="en-US" altLang="zh-CN" sz="16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 </a:t>
            </a:r>
            <a:endParaRPr lang="zh-CN" altLang="en-US" sz="1600" dirty="0">
              <a:solidFill>
                <a:srgbClr val="3F82C4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0C6AB633-765E-B10A-685C-0F3A1A832E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5354" y="310866"/>
            <a:ext cx="3213919" cy="3031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F06BA3A0-BB2C-D239-1674-27CA4ABE2A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4929" y="2743175"/>
            <a:ext cx="3277280" cy="2978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62000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  <p:bldP spid="8" grpId="0"/>
      <p:bldP spid="1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353214" y="1573033"/>
            <a:ext cx="5419185" cy="424732"/>
          </a:xfrm>
        </p:spPr>
        <p:txBody>
          <a:bodyPr>
            <a:spAutoFit/>
          </a:bodyPr>
          <a:lstStyle/>
          <a:p>
            <a:r>
              <a:rPr lang="zh-CN" altLang="en-US" dirty="0">
                <a:solidFill>
                  <a:srgbClr val="3F82C4"/>
                </a:solidFill>
                <a:latin typeface="+mn-lt"/>
                <a:ea typeface="+mn-ea"/>
                <a:cs typeface="+mn-ea"/>
                <a:sym typeface="+mn-lt"/>
              </a:rPr>
              <a:t>电脑如何落子？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2353214" y="2366456"/>
            <a:ext cx="1592622" cy="2328523"/>
          </a:xfrm>
        </p:spPr>
        <p:txBody>
          <a:bodyPr wrap="square">
            <a:spAutoFit/>
          </a:bodyPr>
          <a:lstStyle/>
          <a:p>
            <a:pPr lvl="0" algn="ctr"/>
            <a:r>
              <a:rPr lang="zh-CN" altLang="en-US" sz="20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估值函数</a:t>
            </a:r>
            <a:endParaRPr lang="en-US" altLang="zh-CN" sz="2000" dirty="0">
              <a:solidFill>
                <a:srgbClr val="3F82C4"/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  <a:p>
            <a:pPr lvl="0" algn="ctr"/>
            <a:r>
              <a:rPr lang="en-US" altLang="zh-CN" sz="20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+</a:t>
            </a:r>
          </a:p>
          <a:p>
            <a:pPr lvl="0" algn="ctr"/>
            <a:r>
              <a:rPr lang="zh-CN" altLang="en-US" sz="20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打分表</a:t>
            </a:r>
            <a:endParaRPr lang="en-US" altLang="zh-CN" sz="2000" dirty="0">
              <a:solidFill>
                <a:srgbClr val="3F82C4"/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  <a:p>
            <a:pPr lvl="0" algn="ctr"/>
            <a:r>
              <a:rPr lang="en-US" altLang="zh-CN" sz="20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+</a:t>
            </a:r>
          </a:p>
          <a:p>
            <a:pPr lvl="0" algn="ctr"/>
            <a:r>
              <a:rPr lang="zh-CN" altLang="en-US" sz="2000" dirty="0">
                <a:solidFill>
                  <a:srgbClr val="3F82C4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选取最大值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718817" y="32467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03</a:t>
            </a:r>
            <a:endParaRPr 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179439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SHOWCASE" val="9f18d5fd-e32c-48ad-aa48-e7ba99fe7d2c"/>
</p:tagLst>
</file>

<file path=ppt/theme/theme1.xml><?xml version="1.0" encoding="utf-8"?>
<a:theme xmlns:a="http://schemas.openxmlformats.org/drawingml/2006/main" name="OfficePLUS主题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E81C3"/>
      </a:accent1>
      <a:accent2>
        <a:srgbClr val="14879E"/>
      </a:accent2>
      <a:accent3>
        <a:srgbClr val="3EA592"/>
      </a:accent3>
      <a:accent4>
        <a:srgbClr val="5066A2"/>
      </a:accent4>
      <a:accent5>
        <a:srgbClr val="5E5CA2"/>
      </a:accent5>
      <a:accent6>
        <a:srgbClr val="768394"/>
      </a:accent6>
      <a:hlink>
        <a:srgbClr val="4276AA"/>
      </a:hlink>
      <a:folHlink>
        <a:srgbClr val="BFBFBF"/>
      </a:folHlink>
    </a:clrScheme>
    <a:fontScheme name="qzz3owr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7934b4b-eba6-486d-bfc1-4b8e3fe39092" xsi:nil="true"/>
    <lcf76f155ced4ddcb4097134ff3c332f xmlns="0a5c0dea-e5d7-4228-9256-3793bb42faa5">
      <Terms xmlns="http://schemas.microsoft.com/office/infopath/2007/PartnerControls"/>
    </lcf76f155ced4ddcb4097134ff3c332f>
    <OneNoteFluid_FileOrder xmlns="0a5c0dea-e5d7-4228-9256-3793bb42faa5" xsi:nil="true"/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1443A8EF62DE444B1FF07917E22EF72" ma:contentTypeVersion="17" ma:contentTypeDescription="Create a new document." ma:contentTypeScope="" ma:versionID="ae809626c8abf568b6a415226af21ced">
  <xsd:schema xmlns:xsd="http://www.w3.org/2001/XMLSchema" xmlns:xs="http://www.w3.org/2001/XMLSchema" xmlns:p="http://schemas.microsoft.com/office/2006/metadata/properties" xmlns:ns1="http://schemas.microsoft.com/sharepoint/v3" xmlns:ns2="0a5c0dea-e5d7-4228-9256-3793bb42faa5" xmlns:ns3="97934b4b-eba6-486d-bfc1-4b8e3fe39092" targetNamespace="http://schemas.microsoft.com/office/2006/metadata/properties" ma:root="true" ma:fieldsID="1ffe3db4c8c97a24da98b2b5f963ec28" ns1:_="" ns2:_="" ns3:_="">
    <xsd:import namespace="http://schemas.microsoft.com/sharepoint/v3"/>
    <xsd:import namespace="0a5c0dea-e5d7-4228-9256-3793bb42faa5"/>
    <xsd:import namespace="97934b4b-eba6-486d-bfc1-4b8e3fe39092"/>
    <xsd:element name="properties">
      <xsd:complexType>
        <xsd:sequence>
          <xsd:element name="documentManagement">
            <xsd:complexType>
              <xsd:all>
                <xsd:element ref="ns2:OneNoteFluid_FileOrder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3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4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5c0dea-e5d7-4228-9256-3793bb42faa5" elementFormDefault="qualified">
    <xsd:import namespace="http://schemas.microsoft.com/office/2006/documentManagement/types"/>
    <xsd:import namespace="http://schemas.microsoft.com/office/infopath/2007/PartnerControls"/>
    <xsd:element name="OneNoteFluid_FileOrder" ma:index="8" nillable="true" ma:displayName="OneNoteFluid_FileOrder" ma:internalName="OneNoteFluid_FileOrder">
      <xsd:simpleType>
        <xsd:restriction base="dms:Text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934b4b-eba6-486d-bfc1-4b8e3fe3909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a885aa0b-334b-483f-9125-6409c6335a4b}" ma:internalName="TaxCatchAll" ma:showField="CatchAllData" ma:web="97934b4b-eba6-486d-bfc1-4b8e3fe390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10C64E8-B197-46DE-82DB-8BF69275F43D}">
  <ds:schemaRefs>
    <ds:schemaRef ds:uri="http://schemas.microsoft.com/office/2006/metadata/properties"/>
    <ds:schemaRef ds:uri="http://schemas.microsoft.com/office/infopath/2007/PartnerControls"/>
    <ds:schemaRef ds:uri="97934b4b-eba6-486d-bfc1-4b8e3fe39092"/>
    <ds:schemaRef ds:uri="0a5c0dea-e5d7-4228-9256-3793bb42faa5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9E144D60-786B-49A7-A66F-179A2784D4E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0a5c0dea-e5d7-4228-9256-3793bb42faa5"/>
    <ds:schemaRef ds:uri="97934b4b-eba6-486d-bfc1-4b8e3fe390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5E68599-D7D3-4254-A3D4-DA6676EAF965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5</TotalTime>
  <Words>1600</Words>
  <Application>Microsoft Office PowerPoint</Application>
  <PresentationFormat>宽屏</PresentationFormat>
  <Paragraphs>98</Paragraphs>
  <Slides>14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4</vt:i4>
      </vt:variant>
    </vt:vector>
  </HeadingPairs>
  <TitlesOfParts>
    <vt:vector size="22" baseType="lpstr">
      <vt:lpstr>等线</vt:lpstr>
      <vt:lpstr>楷体</vt:lpstr>
      <vt:lpstr>微软雅黑</vt:lpstr>
      <vt:lpstr>Arial</vt:lpstr>
      <vt:lpstr>Calibri</vt:lpstr>
      <vt:lpstr>Times New Roman</vt:lpstr>
      <vt:lpstr>OfficePLUS主题</vt:lpstr>
      <vt:lpstr>think-cell Slide</vt:lpstr>
      <vt:lpstr>人机对弈</vt:lpstr>
      <vt:lpstr>PowerPoint 演示文稿</vt:lpstr>
      <vt:lpstr>实验目的与器材</vt:lpstr>
      <vt:lpstr>PowerPoint 演示文稿</vt:lpstr>
      <vt:lpstr>2.1 绘制棋盘</vt:lpstr>
      <vt:lpstr>2.3 电脑落子</vt:lpstr>
      <vt:lpstr>2.5 优化及补充</vt:lpstr>
      <vt:lpstr>（3）解决呆板问题</vt:lpstr>
      <vt:lpstr>电脑如何落子？</vt:lpstr>
      <vt:lpstr>3.1估值函数</vt:lpstr>
      <vt:lpstr>PowerPoint 演示文稿</vt:lpstr>
      <vt:lpstr>实验数据及结果分析</vt:lpstr>
      <vt:lpstr>总结与心得</vt:lpstr>
      <vt:lpstr>感谢观看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水果 吃</cp:lastModifiedBy>
  <cp:revision>5</cp:revision>
  <cp:lastPrinted>2019-11-25T16:00:00Z</cp:lastPrinted>
  <dcterms:created xsi:type="dcterms:W3CDTF">2019-11-25T16:00:00Z</dcterms:created>
  <dcterms:modified xsi:type="dcterms:W3CDTF">2024-01-02T04:07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1.1.0.9145</vt:lpwstr>
  </property>
  <property fmtid="{D5CDD505-2E9C-101B-9397-08002B2CF9AE}" pid="4" name="ContentTypeId">
    <vt:lpwstr>0x010100D1443A8EF62DE444B1FF07917E22EF72</vt:lpwstr>
  </property>
</Properties>
</file>